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0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4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5.xml" ContentType="application/vnd.openxmlformats-officedocument.theme+xml"/>
  <Override PartName="/ppt/slideLayouts/slideLayout153.xml" ContentType="application/vnd.openxmlformats-officedocument.presentationml.slideLayout+xml"/>
  <Override PartName="/ppt/theme/theme16.xml" ContentType="application/vnd.openxmlformats-officedocument.them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7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8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1.xml" ContentType="application/vnd.openxmlformats-officedocument.theme+xml"/>
  <Override PartName="/ppt/tags/tag9.xml" ContentType="application/vnd.openxmlformats-officedocument.presentationml.tags+xml"/>
  <Override PartName="/ppt/slideLayouts/slideLayout166.xml" ContentType="application/vnd.openxmlformats-officedocument.presentationml.slideLayout+xml"/>
  <Override PartName="/ppt/theme/theme22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23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24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2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6.xml" ContentType="application/vnd.openxmlformats-officedocument.theme+xml"/>
  <Override PartName="/ppt/theme/theme2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4" r:id="rId1"/>
    <p:sldMasterId id="2147483672" r:id="rId2"/>
    <p:sldMasterId id="2147483690" r:id="rId3"/>
    <p:sldMasterId id="2147483703" r:id="rId4"/>
    <p:sldMasterId id="2147483716" r:id="rId5"/>
    <p:sldMasterId id="2147483728" r:id="rId6"/>
    <p:sldMasterId id="2147483741" r:id="rId7"/>
    <p:sldMasterId id="2147483758" r:id="rId8"/>
    <p:sldMasterId id="2147483779" r:id="rId9"/>
    <p:sldMasterId id="2147483793" r:id="rId10"/>
    <p:sldMasterId id="2147483817" r:id="rId11"/>
    <p:sldMasterId id="2147483830" r:id="rId12"/>
    <p:sldMasterId id="2147483832" r:id="rId13"/>
    <p:sldMasterId id="2147483834" r:id="rId14"/>
    <p:sldMasterId id="2147483837" r:id="rId15"/>
    <p:sldMasterId id="2147483853" r:id="rId16"/>
    <p:sldMasterId id="2147483856" r:id="rId17"/>
    <p:sldMasterId id="2147483860" r:id="rId18"/>
    <p:sldMasterId id="2147483864" r:id="rId19"/>
    <p:sldMasterId id="2147483869" r:id="rId20"/>
    <p:sldMasterId id="2147483871" r:id="rId21"/>
    <p:sldMasterId id="2147483877" r:id="rId22"/>
    <p:sldMasterId id="2147483881" r:id="rId23"/>
    <p:sldMasterId id="2147483893" r:id="rId24"/>
    <p:sldMasterId id="2147483912" r:id="rId25"/>
  </p:sldMasterIdLst>
  <p:notesMasterIdLst>
    <p:notesMasterId r:id="rId34"/>
  </p:notesMasterIdLst>
  <p:handoutMasterIdLst>
    <p:handoutMasterId r:id="rId35"/>
  </p:handoutMasterIdLst>
  <p:sldIdLst>
    <p:sldId id="1065" r:id="rId26"/>
    <p:sldId id="1067" r:id="rId27"/>
    <p:sldId id="1068" r:id="rId28"/>
    <p:sldId id="1072" r:id="rId29"/>
    <p:sldId id="1074" r:id="rId30"/>
    <p:sldId id="1075" r:id="rId31"/>
    <p:sldId id="1076" r:id="rId32"/>
    <p:sldId id="1078" r:id="rId33"/>
  </p:sldIdLst>
  <p:sldSz cx="16256000" cy="9144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187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7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561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749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37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123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311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498" algn="l" defTabSz="914374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оловкина Вероника Викторовна" initials="СВВ" lastIdx="1" clrIdx="3">
    <p:extLst>
      <p:ext uri="{19B8F6BF-5375-455C-9EA6-DF929625EA0E}">
        <p15:presenceInfo xmlns:p15="http://schemas.microsoft.com/office/powerpoint/2012/main" userId="S-1-5-21-3119835862-1306673144-2631644997-2240" providerId="AD"/>
      </p:ext>
    </p:extLst>
  </p:cmAuthor>
  <p:cmAuthor id="2" name="Дорошенко Наталья Викторовна" initials="ДНВ" lastIdx="14" clrIdx="0">
    <p:extLst>
      <p:ext uri="{19B8F6BF-5375-455C-9EA6-DF929625EA0E}">
        <p15:presenceInfo xmlns:p15="http://schemas.microsoft.com/office/powerpoint/2012/main" userId="S-1-5-21-3119835862-1306673144-2631644997-2367" providerId="AD"/>
      </p:ext>
    </p:extLst>
  </p:cmAuthor>
  <p:cmAuthor id="3" name="Титова Елена Сергеевна" initials="ТЕС [2]" lastIdx="6" clrIdx="6">
    <p:extLst>
      <p:ext uri="{19B8F6BF-5375-455C-9EA6-DF929625EA0E}">
        <p15:presenceInfo xmlns:p15="http://schemas.microsoft.com/office/powerpoint/2012/main" userId="Титова Елена Сергеевна" providerId="None"/>
      </p:ext>
    </p:extLst>
  </p:cmAuthor>
  <p:cmAuthor id="4" name="Ротанин Сергей Маркович" initials="РСМ" lastIdx="3" clrIdx="2">
    <p:extLst>
      <p:ext uri="{19B8F6BF-5375-455C-9EA6-DF929625EA0E}">
        <p15:presenceInfo xmlns:p15="http://schemas.microsoft.com/office/powerpoint/2012/main" userId="S-1-5-21-3119835862-1306673144-2631644997-3323" providerId="AD"/>
      </p:ext>
    </p:extLst>
  </p:cmAuthor>
  <p:cmAuthor id="5" name="Титова Елена Сергеевна" initials="ТЕС" lastIdx="9" clrIdx="4">
    <p:extLst>
      <p:ext uri="{19B8F6BF-5375-455C-9EA6-DF929625EA0E}">
        <p15:presenceInfo xmlns:p15="http://schemas.microsoft.com/office/powerpoint/2012/main" userId="S-1-5-21-3119835862-1306673144-2631644997-2980" providerId="AD"/>
      </p:ext>
    </p:extLst>
  </p:cmAuthor>
  <p:cmAuthor id="6" name="Мещерякова Алевтина Викторовна" initials="МАВ" lastIdx="1" clrIdx="5">
    <p:extLst>
      <p:ext uri="{19B8F6BF-5375-455C-9EA6-DF929625EA0E}">
        <p15:presenceInfo xmlns:p15="http://schemas.microsoft.com/office/powerpoint/2012/main" userId="S-1-5-21-3119835862-1306673144-2631644997-7941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DE390"/>
    <a:srgbClr val="F98613"/>
    <a:srgbClr val="FF6600"/>
    <a:srgbClr val="F9455A"/>
    <a:srgbClr val="5C8E26"/>
    <a:srgbClr val="FF3300"/>
    <a:srgbClr val="020202"/>
    <a:srgbClr val="65AFED"/>
    <a:srgbClr val="0059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08" autoAdjust="0"/>
    <p:restoredTop sz="95711" autoAdjust="0"/>
  </p:normalViewPr>
  <p:slideViewPr>
    <p:cSldViewPr>
      <p:cViewPr varScale="1">
        <p:scale>
          <a:sx n="50" d="100"/>
          <a:sy n="50" d="100"/>
        </p:scale>
        <p:origin x="68" y="3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1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8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3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2722172489800146"/>
          <c:w val="1"/>
          <c:h val="0.680260217792689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6</c:f>
              <c:strCache>
                <c:ptCount val="1"/>
                <c:pt idx="0">
                  <c:v>ТЗ/ТУ, cогласованные c  просрочкой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Лист1!$C$5:$D$5</c:f>
              <c:strCache>
                <c:ptCount val="2"/>
                <c:pt idx="0">
                  <c:v>декабрь 2020- июнь 2021</c:v>
                </c:pt>
                <c:pt idx="1">
                  <c:v>декабрь 2021 - июнь 2022</c:v>
                </c:pt>
              </c:strCache>
            </c:strRef>
          </c:cat>
          <c:val>
            <c:numRef>
              <c:f>Лист1!$C$6:$D$6</c:f>
              <c:numCache>
                <c:formatCode>General</c:formatCode>
                <c:ptCount val="2"/>
                <c:pt idx="0">
                  <c:v>61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D8-4811-A944-8258469A0FDB}"/>
            </c:ext>
          </c:extLst>
        </c:ser>
        <c:ser>
          <c:idx val="1"/>
          <c:order val="1"/>
          <c:tx>
            <c:strRef>
              <c:f>Лист1!$B$7</c:f>
              <c:strCache>
                <c:ptCount val="1"/>
                <c:pt idx="0">
                  <c:v>ТЗ/ТУ, cогласованные в сроки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C$5:$D$5</c:f>
              <c:strCache>
                <c:ptCount val="2"/>
                <c:pt idx="0">
                  <c:v>декабрь 2020- июнь 2021</c:v>
                </c:pt>
                <c:pt idx="1">
                  <c:v>декабрь 2021 - июнь 2022</c:v>
                </c:pt>
              </c:strCache>
            </c:strRef>
          </c:cat>
          <c:val>
            <c:numRef>
              <c:f>Лист1!$C$7:$D$7</c:f>
              <c:numCache>
                <c:formatCode>General</c:formatCode>
                <c:ptCount val="2"/>
                <c:pt idx="0">
                  <c:v>39</c:v>
                </c:pt>
                <c:pt idx="1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D8-4811-A944-8258469A0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2769376"/>
        <c:axId val="462769704"/>
      </c:barChart>
      <c:catAx>
        <c:axId val="462769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62769704"/>
        <c:crosses val="autoZero"/>
        <c:auto val="1"/>
        <c:lblAlgn val="ctr"/>
        <c:lblOffset val="100"/>
        <c:noMultiLvlLbl val="0"/>
      </c:catAx>
      <c:valAx>
        <c:axId val="462769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2769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Лист2 (2)'!$B$5</c:f>
              <c:strCache>
                <c:ptCount val="1"/>
                <c:pt idx="0">
                  <c:v>&gt;30 дн.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4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5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B1-41EB-B032-12DE83A648FE}"/>
            </c:ext>
          </c:extLst>
        </c:ser>
        <c:ser>
          <c:idx val="1"/>
          <c:order val="1"/>
          <c:tx>
            <c:strRef>
              <c:f>'Лист2 (2)'!$B$6</c:f>
              <c:strCache>
                <c:ptCount val="1"/>
                <c:pt idx="0">
                  <c:v>&gt;30..60 дн.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4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6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B1-41EB-B032-12DE83A648FE}"/>
            </c:ext>
          </c:extLst>
        </c:ser>
        <c:ser>
          <c:idx val="2"/>
          <c:order val="2"/>
          <c:tx>
            <c:strRef>
              <c:f>'Лист2 (2)'!$B$7</c:f>
              <c:strCache>
                <c:ptCount val="1"/>
                <c:pt idx="0">
                  <c:v>&gt;60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4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7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B1-41EB-B032-12DE83A648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7334104"/>
        <c:axId val="497334432"/>
      </c:barChart>
      <c:catAx>
        <c:axId val="4973341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7334432"/>
        <c:crosses val="autoZero"/>
        <c:auto val="1"/>
        <c:lblAlgn val="ctr"/>
        <c:lblOffset val="100"/>
        <c:noMultiLvlLbl val="0"/>
      </c:catAx>
      <c:valAx>
        <c:axId val="4973344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97334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378186580434262E-3"/>
          <c:y val="0.17592592592592593"/>
          <c:w val="0.92436798952304466"/>
          <c:h val="0.781191132473838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Лист2 (2)'!$B$24</c:f>
              <c:strCache>
                <c:ptCount val="1"/>
                <c:pt idx="0">
                  <c:v>&gt;30 дн.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23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24</c:f>
              <c:numCache>
                <c:formatCode>General</c:formatCode>
                <c:ptCount val="1"/>
                <c:pt idx="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37-46D2-9D50-62AA6F3EB61A}"/>
            </c:ext>
          </c:extLst>
        </c:ser>
        <c:ser>
          <c:idx val="1"/>
          <c:order val="1"/>
          <c:tx>
            <c:strRef>
              <c:f>'Лист2 (2)'!$B$25</c:f>
              <c:strCache>
                <c:ptCount val="1"/>
                <c:pt idx="0">
                  <c:v>&gt;30..60 дн.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23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25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37-46D2-9D50-62AA6F3EB61A}"/>
            </c:ext>
          </c:extLst>
        </c:ser>
        <c:ser>
          <c:idx val="2"/>
          <c:order val="2"/>
          <c:tx>
            <c:strRef>
              <c:f>'Лист2 (2)'!$B$26</c:f>
              <c:strCache>
                <c:ptCount val="1"/>
                <c:pt idx="0">
                  <c:v>&gt;60.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'Лист2 (2)'!$C$23</c:f>
              <c:strCache>
                <c:ptCount val="1"/>
                <c:pt idx="0">
                  <c:v>Процент</c:v>
                </c:pt>
              </c:strCache>
            </c:strRef>
          </c:cat>
          <c:val>
            <c:numRef>
              <c:f>'Лист2 (2)'!$C$26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37-46D2-9D50-62AA6F3EB6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8975816"/>
        <c:axId val="608978768"/>
      </c:barChart>
      <c:catAx>
        <c:axId val="608975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8978768"/>
        <c:crosses val="autoZero"/>
        <c:auto val="1"/>
        <c:lblAlgn val="ctr"/>
        <c:lblOffset val="100"/>
        <c:noMultiLvlLbl val="0"/>
      </c:catAx>
      <c:valAx>
        <c:axId val="608978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08975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88492141107764"/>
          <c:y val="4.3433665658433665E-2"/>
          <c:w val="0.70122374910303875"/>
          <c:h val="0.937422504177000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1D-4089-B040-2EF2B60A3B90}"/>
              </c:ext>
            </c:extLst>
          </c:dPt>
          <c:dPt>
            <c:idx val="1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1D-4089-B040-2EF2B60A3B90}"/>
              </c:ext>
            </c:extLst>
          </c:dPt>
          <c:dPt>
            <c:idx val="2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1D-4089-B040-2EF2B60A3B90}"/>
              </c:ext>
            </c:extLst>
          </c:dPt>
          <c:dLbls>
            <c:dLbl>
              <c:idx val="0"/>
              <c:layout>
                <c:manualLayout>
                  <c:x val="2.5493018927462527E-3"/>
                  <c:y val="3.43666789340376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21D-4089-B040-2EF2B60A3B90}"/>
                </c:ext>
              </c:extLst>
            </c:dLbl>
            <c:dLbl>
              <c:idx val="1"/>
              <c:layout>
                <c:manualLayout>
                  <c:x val="5.0986037854924117E-3"/>
                  <c:y val="6.8733357868075249E-3"/>
                </c:manualLayout>
              </c:layout>
              <c:tx>
                <c:rich>
                  <a:bodyPr/>
                  <a:lstStyle/>
                  <a:p>
                    <a:fld id="{DA7F1256-864E-4E4A-9F16-296E7DDC43B5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21D-4089-B040-2EF2B60A3B90}"/>
                </c:ext>
              </c:extLst>
            </c:dLbl>
            <c:dLbl>
              <c:idx val="2"/>
              <c:layout>
                <c:manualLayout>
                  <c:x val="1.8859008177124135E-2"/>
                  <c:y val="3.43666789340376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F21D-4089-B040-2EF2B60A3B90}"/>
                </c:ext>
              </c:extLst>
            </c:dLbl>
            <c:dLbl>
              <c:idx val="3"/>
              <c:layout>
                <c:manualLayout>
                  <c:x val="-7.6479056782387577E-3"/>
                  <c:y val="-3.150242510416481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21D-4089-B040-2EF2B60A3B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АСЭ</c:v>
                </c:pt>
                <c:pt idx="1">
                  <c:v>АЭМ</c:v>
                </c:pt>
                <c:pt idx="2">
                  <c:v>КРЭА</c:v>
                </c:pt>
                <c:pt idx="3">
                  <c:v>АРМЗ</c:v>
                </c:pt>
                <c:pt idx="4">
                  <c:v>ТВЭЛ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0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21D-4089-B040-2EF2B60A3B9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7.4260472407702855E-3"/>
                  <c:y val="-1.53470487343318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21D-4089-B040-2EF2B60A3B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АСЭ</c:v>
                </c:pt>
                <c:pt idx="1">
                  <c:v>АЭМ</c:v>
                </c:pt>
                <c:pt idx="2">
                  <c:v>КРЭА</c:v>
                </c:pt>
                <c:pt idx="3">
                  <c:v>АРМЗ</c:v>
                </c:pt>
                <c:pt idx="4">
                  <c:v>ТВЭЛ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1.3</c:v>
                </c:pt>
                <c:pt idx="1">
                  <c:v>91.4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21D-4089-B040-2EF2B60A3B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21394368"/>
        <c:axId val="521396992"/>
      </c:barChart>
      <c:catAx>
        <c:axId val="5213943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21396992"/>
        <c:crosses val="autoZero"/>
        <c:auto val="1"/>
        <c:lblAlgn val="ctr"/>
        <c:lblOffset val="100"/>
        <c:noMultiLvlLbl val="0"/>
      </c:catAx>
      <c:valAx>
        <c:axId val="521396992"/>
        <c:scaling>
          <c:orientation val="minMax"/>
          <c:max val="12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521394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9271347375699689"/>
          <c:y val="7.6078578381080161E-2"/>
          <c:w val="0.60728652624300306"/>
          <c:h val="0.919291755452082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20212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Исполнение
без ДС</c:v>
                </c:pt>
                <c:pt idx="1">
                  <c:v>Исполнение  с КС</c:v>
                </c:pt>
                <c:pt idx="2">
                  <c:v>Исполнение
с аудитом</c:v>
                </c:pt>
                <c:pt idx="3">
                  <c:v>    Исполнение с ДС
   (перенос сроков)</c:v>
                </c:pt>
              </c:strCache>
            </c:strRef>
          </c:cat>
          <c:val>
            <c:numRef>
              <c:f>Лист1!$B$3:$B$6</c:f>
              <c:numCache>
                <c:formatCode>General</c:formatCode>
                <c:ptCount val="4"/>
                <c:pt idx="0">
                  <c:v>84</c:v>
                </c:pt>
                <c:pt idx="1">
                  <c:v>99</c:v>
                </c:pt>
                <c:pt idx="2">
                  <c:v>92.1</c:v>
                </c:pt>
                <c:pt idx="3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C6-457D-984D-D56E4B18F53F}"/>
            </c:ext>
          </c:extLst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Исполнение
без ДС</c:v>
                </c:pt>
                <c:pt idx="1">
                  <c:v>Исполнение  с КС</c:v>
                </c:pt>
                <c:pt idx="2">
                  <c:v>Исполнение
с аудитом</c:v>
                </c:pt>
                <c:pt idx="3">
                  <c:v>    Исполнение с ДС
   (перенос сроков)</c:v>
                </c:pt>
              </c:strCache>
            </c:strRef>
          </c:cat>
          <c:val>
            <c:numRef>
              <c:f>Лист1!$C$3:$C$6</c:f>
              <c:numCache>
                <c:formatCode>General</c:formatCode>
                <c:ptCount val="4"/>
                <c:pt idx="0">
                  <c:v>67.7</c:v>
                </c:pt>
                <c:pt idx="1">
                  <c:v>99</c:v>
                </c:pt>
                <c:pt idx="2">
                  <c:v>99</c:v>
                </c:pt>
                <c:pt idx="3">
                  <c:v>9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C6-457D-984D-D56E4B18F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31165184"/>
        <c:axId val="331169120"/>
      </c:barChart>
      <c:catAx>
        <c:axId val="3311651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31169120"/>
        <c:crosses val="autoZero"/>
        <c:auto val="1"/>
        <c:lblAlgn val="ctr"/>
        <c:lblOffset val="100"/>
        <c:noMultiLvlLbl val="0"/>
      </c:catAx>
      <c:valAx>
        <c:axId val="3311691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31165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нение КС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BF-4CFF-B583-6761366F4DB8}"/>
              </c:ext>
            </c:extLst>
          </c:dPt>
          <c:dPt>
            <c:idx val="1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5BF-4CFF-B583-6761366F4DB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BF-4CFF-B583-6761366F4DB8}"/>
              </c:ext>
            </c:extLst>
          </c:dPt>
          <c:dPt>
            <c:idx val="3"/>
            <c:bubble3D val="0"/>
            <c:spPr>
              <a:solidFill>
                <a:srgbClr val="FF33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5BF-4CFF-B583-6761366F4DB8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5BF-4CFF-B583-6761366F4DB8}"/>
                </c:ext>
              </c:extLst>
            </c:dLbl>
            <c:dLbl>
              <c:idx val="3"/>
              <c:layout>
                <c:manualLayout>
                  <c:x val="-1.3920633902056024E-3"/>
                  <c:y val="-5.746835630634970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5BF-4CFF-B583-6761366F4D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4"/>
                <c:pt idx="0">
                  <c:v>Всего</c:v>
                </c:pt>
                <c:pt idx="1">
                  <c:v>Со сроком на 25.07</c:v>
                </c:pt>
                <c:pt idx="2">
                  <c:v>Исполнено</c:v>
                </c:pt>
                <c:pt idx="3">
                  <c:v>Неисполнено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84</c:v>
                </c:pt>
                <c:pt idx="1">
                  <c:v>88</c:v>
                </c:pt>
                <c:pt idx="2">
                  <c:v>61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BF-4CFF-B583-6761366F4D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33-4B64-A7B0-F08B9EA5582E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33-4B64-A7B0-F08B9EA5582E}"/>
              </c:ext>
            </c:extLst>
          </c:dPt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F33-4B64-A7B0-F08B9EA5582E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F33-4B64-A7B0-F08B9EA5582E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F33-4B64-A7B0-F08B9EA5582E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F33-4B64-A7B0-F08B9EA5582E}"/>
              </c:ext>
            </c:extLst>
          </c:dPt>
          <c:dPt>
            <c:idx val="6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F33-4B64-A7B0-F08B9EA5582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АЭМ</c:v>
                </c:pt>
                <c:pt idx="1">
                  <c:v>ЯОК</c:v>
                </c:pt>
                <c:pt idx="2">
                  <c:v>КРЭА</c:v>
                </c:pt>
                <c:pt idx="3">
                  <c:v>АСЭ</c:v>
                </c:pt>
                <c:pt idx="4">
                  <c:v>АРМЗ</c:v>
                </c:pt>
                <c:pt idx="5">
                  <c:v>ТВЭЛ</c:v>
                </c:pt>
                <c:pt idx="6">
                  <c:v>Итого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6.67</c:v>
                </c:pt>
                <c:pt idx="1">
                  <c:v>75</c:v>
                </c:pt>
                <c:pt idx="2">
                  <c:v>75</c:v>
                </c:pt>
                <c:pt idx="3">
                  <c:v>83.3</c:v>
                </c:pt>
                <c:pt idx="4">
                  <c:v>84.6</c:v>
                </c:pt>
                <c:pt idx="5">
                  <c:v>87.5</c:v>
                </c:pt>
                <c:pt idx="6">
                  <c:v>81.81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F33-4B64-A7B0-F08B9EA55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36"/>
        <c:axId val="2055003840"/>
        <c:axId val="2055010496"/>
      </c:barChart>
      <c:catAx>
        <c:axId val="205500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5010496"/>
        <c:crosses val="autoZero"/>
        <c:auto val="1"/>
        <c:lblAlgn val="ctr"/>
        <c:lblOffset val="100"/>
        <c:noMultiLvlLbl val="0"/>
      </c:catAx>
      <c:valAx>
        <c:axId val="2055010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500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33-4B64-A7B0-F08B9EA5582E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33-4B64-A7B0-F08B9EA5582E}"/>
              </c:ext>
            </c:extLst>
          </c:dPt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rgbClr val="FF0000">
                      <a:tint val="66000"/>
                      <a:satMod val="160000"/>
                    </a:srgbClr>
                  </a:gs>
                  <a:gs pos="50000">
                    <a:srgbClr val="FF0000">
                      <a:tint val="44500"/>
                      <a:satMod val="160000"/>
                    </a:srgbClr>
                  </a:gs>
                  <a:gs pos="100000">
                    <a:srgbClr val="FF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F33-4B64-A7B0-F08B9EA5582E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F33-4B64-A7B0-F08B9EA5582E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F33-4B64-A7B0-F08B9EA5582E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F33-4B64-A7B0-F08B9EA5582E}"/>
              </c:ext>
            </c:extLst>
          </c:dPt>
          <c:dPt>
            <c:idx val="6"/>
            <c:invertIfNegative val="0"/>
            <c:bubble3D val="0"/>
            <c:spPr>
              <a:gradFill flip="none" rotWithShape="1">
                <a:gsLst>
                  <a:gs pos="0">
                    <a:srgbClr val="FFC000">
                      <a:tint val="66000"/>
                      <a:satMod val="160000"/>
                    </a:srgbClr>
                  </a:gs>
                  <a:gs pos="50000">
                    <a:srgbClr val="FFC000">
                      <a:tint val="44500"/>
                      <a:satMod val="160000"/>
                    </a:srgbClr>
                  </a:gs>
                  <a:gs pos="100000">
                    <a:srgbClr val="FFC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F33-4B64-A7B0-F08B9EA5582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АЭМ</c:v>
                </c:pt>
                <c:pt idx="1">
                  <c:v>ЯОК</c:v>
                </c:pt>
                <c:pt idx="2">
                  <c:v>КРЭА</c:v>
                </c:pt>
                <c:pt idx="3">
                  <c:v>АСЭ</c:v>
                </c:pt>
                <c:pt idx="4">
                  <c:v>АРМЗ</c:v>
                </c:pt>
                <c:pt idx="5">
                  <c:v>ТВЭЛ</c:v>
                </c:pt>
                <c:pt idx="6">
                  <c:v>Итого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6.67</c:v>
                </c:pt>
                <c:pt idx="1">
                  <c:v>75</c:v>
                </c:pt>
                <c:pt idx="2">
                  <c:v>75</c:v>
                </c:pt>
                <c:pt idx="3">
                  <c:v>83.3</c:v>
                </c:pt>
                <c:pt idx="4">
                  <c:v>84.6</c:v>
                </c:pt>
                <c:pt idx="5">
                  <c:v>87.5</c:v>
                </c:pt>
                <c:pt idx="6">
                  <c:v>81.81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F33-4B64-A7B0-F08B9EA55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36"/>
        <c:axId val="2055003840"/>
        <c:axId val="2055010496"/>
      </c:barChart>
      <c:catAx>
        <c:axId val="205500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5010496"/>
        <c:crosses val="autoZero"/>
        <c:auto val="1"/>
        <c:lblAlgn val="ctr"/>
        <c:lblOffset val="100"/>
        <c:noMultiLvlLbl val="0"/>
      </c:catAx>
      <c:valAx>
        <c:axId val="2055010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5500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D6DC2-99AF-44C7-AE9C-F4E3310BDA6E}" type="datetimeFigureOut">
              <a:rPr lang="ru-RU" smtClean="0"/>
              <a:t>21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28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530" y="9429728"/>
            <a:ext cx="2946058" cy="49617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F7EE73-B5CC-4AE6-8E02-7D3FEB1DD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96446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38" cy="496411"/>
          </a:xfrm>
          <a:prstGeom prst="rect">
            <a:avLst/>
          </a:prstGeom>
        </p:spPr>
        <p:txBody>
          <a:bodyPr vert="horz" lIns="60213" tIns="30107" rIns="60213" bIns="30107" rtlCol="0"/>
          <a:lstStyle>
            <a:lvl1pPr algn="l">
              <a:defRPr sz="8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248" y="0"/>
            <a:ext cx="2946101" cy="496411"/>
          </a:xfrm>
          <a:prstGeom prst="rect">
            <a:avLst/>
          </a:prstGeom>
        </p:spPr>
        <p:txBody>
          <a:bodyPr vert="horz" lIns="60213" tIns="30107" rIns="60213" bIns="30107" rtlCol="0"/>
          <a:lstStyle>
            <a:lvl1pPr algn="r">
              <a:defRPr sz="800" smtClean="0"/>
            </a:lvl1pPr>
          </a:lstStyle>
          <a:p>
            <a:pPr>
              <a:defRPr/>
            </a:pPr>
            <a:fld id="{64CF72F9-BED5-4D0E-9FA4-0C323D6E7B90}" type="datetimeFigureOut">
              <a:rPr lang="ru-RU"/>
              <a:pPr>
                <a:defRPr/>
              </a:pPr>
              <a:t>21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0213" tIns="30107" rIns="60213" bIns="30107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60213" tIns="30107" rIns="60213" bIns="3010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438" cy="496411"/>
          </a:xfrm>
          <a:prstGeom prst="rect">
            <a:avLst/>
          </a:prstGeom>
        </p:spPr>
        <p:txBody>
          <a:bodyPr vert="horz" lIns="60213" tIns="30107" rIns="60213" bIns="30107" rtlCol="0" anchor="b"/>
          <a:lstStyle>
            <a:lvl1pPr algn="l">
              <a:defRPr sz="8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248" y="9430091"/>
            <a:ext cx="2946101" cy="496411"/>
          </a:xfrm>
          <a:prstGeom prst="rect">
            <a:avLst/>
          </a:prstGeom>
        </p:spPr>
        <p:txBody>
          <a:bodyPr vert="horz" lIns="60213" tIns="30107" rIns="60213" bIns="30107" rtlCol="0" anchor="b"/>
          <a:lstStyle>
            <a:lvl1pPr algn="r">
              <a:defRPr sz="800" smtClean="0"/>
            </a:lvl1pPr>
          </a:lstStyle>
          <a:p>
            <a:pPr>
              <a:defRPr/>
            </a:pPr>
            <a:fld id="{958239A1-9CA4-4B04-B73F-AB252E701A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226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87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74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561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749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937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3123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311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498" algn="l" defTabSz="91437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8239A1-9CA4-4B04-B73F-AB252E701ABD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6258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24.jpe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3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png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5770" y="391591"/>
            <a:ext cx="2977445" cy="197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5" y="2908350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91" y="4379387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2097957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10441874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_Заголовок+иконка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cxnSp>
        <p:nvCxnSpPr>
          <p:cNvPr id="7" name="Прямая соединительная линия 8"/>
          <p:cNvCxnSpPr/>
          <p:nvPr userDrawn="1"/>
        </p:nvCxnSpPr>
        <p:spPr>
          <a:xfrm>
            <a:off x="702734" y="1307637"/>
            <a:ext cx="14848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 userDrawn="1"/>
        </p:nvSpPr>
        <p:spPr>
          <a:xfrm>
            <a:off x="703175" y="8604449"/>
            <a:ext cx="14209579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4D4D4D"/>
                </a:solidFill>
                <a:latin typeface="Arial"/>
              </a:rPr>
              <a:t>The content of this presentation is for discussion purposes only. It does not constitute an offer of services, nor does it impose, or lead to, any obligations on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or its affiliates.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expressly disclaims responsibility for any errors, inaccuracies or omissions in respect of the information contained herein. </a:t>
            </a:r>
            <a:r>
              <a:rPr lang="en-US" sz="1600" dirty="0">
                <a:solidFill>
                  <a:srgbClr val="4D4D4D"/>
                </a:solidFill>
                <a:latin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2489748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_Заголовок+иконка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0914615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_Заголовок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2735" y="8604448"/>
            <a:ext cx="14850533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8"/>
          <p:cNvCxnSpPr/>
          <p:nvPr userDrawn="1"/>
        </p:nvCxnSpPr>
        <p:spPr>
          <a:xfrm>
            <a:off x="702734" y="1307637"/>
            <a:ext cx="14848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702734" y="1859325"/>
            <a:ext cx="14850533" cy="6265069"/>
          </a:xfrm>
          <a:prstGeom prst="rect">
            <a:avLst/>
          </a:prstGeom>
        </p:spPr>
        <p:txBody>
          <a:bodyPr lIns="145143" tIns="72571" rIns="145143" bIns="72571"/>
          <a:lstStyle/>
          <a:p>
            <a:endParaRPr lang="en-US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03175" y="8604449"/>
            <a:ext cx="14209579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4D4D4D"/>
                </a:solidFill>
                <a:latin typeface="Arial"/>
              </a:rPr>
              <a:t>The content of this presentation is for discussion purposes only. It does not constitute an offer of services, nor does it impose, or lead to, any obligations on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or its affiliates.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expressly disclaims responsibility for any errors, inaccuracies or omissions in respect of the information contained herein. </a:t>
            </a:r>
            <a:r>
              <a:rPr lang="en-US" sz="1600" dirty="0">
                <a:solidFill>
                  <a:srgbClr val="4D4D4D"/>
                </a:solidFill>
                <a:latin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48562202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3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8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42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93527697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037B8848-BAB9-473E-96A4-9FCDF0D2F1E6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053203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4"/>
            <a:ext cx="13817600" cy="2000249"/>
          </a:xfrm>
        </p:spPr>
        <p:txBody>
          <a:bodyPr anchor="b"/>
          <a:lstStyle>
            <a:lvl1pPr marL="0" indent="0">
              <a:buNone/>
              <a:defRPr sz="2025"/>
            </a:lvl1pPr>
            <a:lvl2pPr marL="457165" indent="0">
              <a:buNone/>
              <a:defRPr sz="1800"/>
            </a:lvl2pPr>
            <a:lvl3pPr marL="914330" indent="0">
              <a:buNone/>
              <a:defRPr sz="1575"/>
            </a:lvl3pPr>
            <a:lvl4pPr marL="1371495" indent="0">
              <a:buNone/>
              <a:defRPr sz="1425"/>
            </a:lvl4pPr>
            <a:lvl5pPr marL="1828658" indent="0">
              <a:buNone/>
              <a:defRPr sz="1425"/>
            </a:lvl5pPr>
            <a:lvl6pPr marL="2285824" indent="0">
              <a:buNone/>
              <a:defRPr sz="1425"/>
            </a:lvl6pPr>
            <a:lvl7pPr marL="2742990" indent="0">
              <a:buNone/>
              <a:defRPr sz="1425"/>
            </a:lvl7pPr>
            <a:lvl8pPr marL="3200153" indent="0">
              <a:buNone/>
              <a:defRPr sz="1425"/>
            </a:lvl8pPr>
            <a:lvl9pPr marL="3657319" indent="0">
              <a:buNone/>
              <a:defRPr sz="142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46F88A86-6001-4B1B-8D6F-352B7BC5A4A8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567326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6" y="1500720"/>
            <a:ext cx="7354711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2D606A0-556A-4DD1-8AB6-68BC6184B7E2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93588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CE8063C-F3B2-4B09-AA08-CE6A819890D6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621559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9829991B-5CC3-424B-AD53-DED8471F3052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79196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7312639-E3F0-4A87-B39B-5A0BCFDE885B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6417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9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72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86782683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4"/>
            <a:ext cx="9087556" cy="7804151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3"/>
            <a:ext cx="5348112" cy="6254751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5747E86B-6971-4D6A-82E0-CB2E62E792A9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070771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3225"/>
            </a:lvl1pPr>
            <a:lvl2pPr marL="457165" indent="0">
              <a:buNone/>
              <a:defRPr sz="2775"/>
            </a:lvl2pPr>
            <a:lvl3pPr marL="914330" indent="0">
              <a:buNone/>
              <a:defRPr sz="2400"/>
            </a:lvl3pPr>
            <a:lvl4pPr marL="1371495" indent="0">
              <a:buNone/>
              <a:defRPr sz="2025"/>
            </a:lvl4pPr>
            <a:lvl5pPr marL="1828658" indent="0">
              <a:buNone/>
              <a:defRPr sz="2025"/>
            </a:lvl5pPr>
            <a:lvl6pPr marL="2285824" indent="0">
              <a:buNone/>
              <a:defRPr sz="2025"/>
            </a:lvl6pPr>
            <a:lvl7pPr marL="2742990" indent="0">
              <a:buNone/>
              <a:defRPr sz="2025"/>
            </a:lvl7pPr>
            <a:lvl8pPr marL="3200153" indent="0">
              <a:buNone/>
              <a:defRPr sz="2025"/>
            </a:lvl8pPr>
            <a:lvl9pPr marL="3657319" indent="0">
              <a:buNone/>
              <a:defRPr sz="2025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D2C805AD-BE11-4FDA-AEBF-814C57474C69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261790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275D9D76-FB84-4E64-9C54-C7DDF97D1801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948415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8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/>
            <a:fld id="{6CAF7F28-BBE1-428B-A439-BF396B47958D}" type="slidenum">
              <a:rPr lang="ru-RU" smtClean="0">
                <a:solidFill>
                  <a:srgbClr val="003274"/>
                </a:solidFill>
              </a:rPr>
              <a:pPr defTabSz="1219170"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02215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3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20"/>
            <a:ext cx="14977532" cy="6864349"/>
          </a:xfrm>
        </p:spPr>
        <p:txBody>
          <a:bodyPr/>
          <a:lstStyle/>
          <a:p>
            <a:pPr lvl="0"/>
            <a:r>
              <a:rPr lang="ru-RU" noProof="0"/>
              <a:t>Вставка таблицы</a:t>
            </a:r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 defTabSz="1219170"/>
            <a:fld id="{01A583C6-E099-4C64-832C-EDE2DB1CD7F3}" type="slidenum">
              <a:rPr lang="ru-RU" smtClean="0"/>
              <a:pPr defTabSz="121917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5658356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3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8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42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68126843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82672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4"/>
            <a:ext cx="13817600" cy="2000249"/>
          </a:xfrm>
        </p:spPr>
        <p:txBody>
          <a:bodyPr anchor="b"/>
          <a:lstStyle>
            <a:lvl1pPr marL="0" indent="0">
              <a:buNone/>
              <a:defRPr sz="2025"/>
            </a:lvl1pPr>
            <a:lvl2pPr marL="457165" indent="0">
              <a:buNone/>
              <a:defRPr sz="1800"/>
            </a:lvl2pPr>
            <a:lvl3pPr marL="914330" indent="0">
              <a:buNone/>
              <a:defRPr sz="1575"/>
            </a:lvl3pPr>
            <a:lvl4pPr marL="1371495" indent="0">
              <a:buNone/>
              <a:defRPr sz="1425"/>
            </a:lvl4pPr>
            <a:lvl5pPr marL="1828658" indent="0">
              <a:buNone/>
              <a:defRPr sz="1425"/>
            </a:lvl5pPr>
            <a:lvl6pPr marL="2285824" indent="0">
              <a:buNone/>
              <a:defRPr sz="1425"/>
            </a:lvl6pPr>
            <a:lvl7pPr marL="2742990" indent="0">
              <a:buNone/>
              <a:defRPr sz="1425"/>
            </a:lvl7pPr>
            <a:lvl8pPr marL="3200153" indent="0">
              <a:buNone/>
              <a:defRPr sz="1425"/>
            </a:lvl8pPr>
            <a:lvl9pPr marL="3657319" indent="0">
              <a:buNone/>
              <a:defRPr sz="142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913550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6" y="1500720"/>
            <a:ext cx="7354711" cy="6864349"/>
          </a:xfrm>
        </p:spPr>
        <p:txBody>
          <a:bodyPr/>
          <a:lstStyle>
            <a:lvl1pPr>
              <a:defRPr sz="2775"/>
            </a:lvl1pPr>
            <a:lvl2pPr>
              <a:defRPr sz="240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190868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25" b="1"/>
            </a:lvl2pPr>
            <a:lvl3pPr marL="914330" indent="0">
              <a:buNone/>
              <a:defRPr sz="1800" b="1"/>
            </a:lvl3pPr>
            <a:lvl4pPr marL="1371495" indent="0">
              <a:buNone/>
              <a:defRPr sz="1575" b="1"/>
            </a:lvl4pPr>
            <a:lvl5pPr marL="1828658" indent="0">
              <a:buNone/>
              <a:defRPr sz="1575" b="1"/>
            </a:lvl5pPr>
            <a:lvl6pPr marL="2285824" indent="0">
              <a:buNone/>
              <a:defRPr sz="1575" b="1"/>
            </a:lvl6pPr>
            <a:lvl7pPr marL="2742990" indent="0">
              <a:buNone/>
              <a:defRPr sz="1575" b="1"/>
            </a:lvl7pPr>
            <a:lvl8pPr marL="3200153" indent="0">
              <a:buNone/>
              <a:defRPr sz="1575" b="1"/>
            </a:lvl8pPr>
            <a:lvl9pPr marL="3657319" indent="0">
              <a:buNone/>
              <a:defRPr sz="15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20138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832558" y="1"/>
            <a:ext cx="14977532" cy="83650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3320394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44280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747935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4"/>
            <a:ext cx="9087556" cy="7804151"/>
          </a:xfrm>
        </p:spPr>
        <p:txBody>
          <a:bodyPr/>
          <a:lstStyle>
            <a:lvl1pPr>
              <a:defRPr sz="3225"/>
            </a:lvl1pPr>
            <a:lvl2pPr>
              <a:defRPr sz="2775"/>
            </a:lvl2pPr>
            <a:lvl3pPr>
              <a:defRPr sz="240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3"/>
            <a:ext cx="5348112" cy="6254751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174575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0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3225"/>
            </a:lvl1pPr>
            <a:lvl2pPr marL="457165" indent="0">
              <a:buNone/>
              <a:defRPr sz="2775"/>
            </a:lvl2pPr>
            <a:lvl3pPr marL="914330" indent="0">
              <a:buNone/>
              <a:defRPr sz="2400"/>
            </a:lvl3pPr>
            <a:lvl4pPr marL="1371495" indent="0">
              <a:buNone/>
              <a:defRPr sz="2025"/>
            </a:lvl4pPr>
            <a:lvl5pPr marL="1828658" indent="0">
              <a:buNone/>
              <a:defRPr sz="2025"/>
            </a:lvl5pPr>
            <a:lvl6pPr marL="2285824" indent="0">
              <a:buNone/>
              <a:defRPr sz="2025"/>
            </a:lvl6pPr>
            <a:lvl7pPr marL="2742990" indent="0">
              <a:buNone/>
              <a:defRPr sz="2025"/>
            </a:lvl7pPr>
            <a:lvl8pPr marL="3200153" indent="0">
              <a:buNone/>
              <a:defRPr sz="2025"/>
            </a:lvl8pPr>
            <a:lvl9pPr marL="3657319" indent="0">
              <a:buNone/>
              <a:defRPr sz="2025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425"/>
            </a:lvl1pPr>
            <a:lvl2pPr marL="457165" indent="0">
              <a:buNone/>
              <a:defRPr sz="1200"/>
            </a:lvl2pPr>
            <a:lvl3pPr marL="914330" indent="0">
              <a:buNone/>
              <a:defRPr sz="975"/>
            </a:lvl3pPr>
            <a:lvl4pPr marL="1371495" indent="0">
              <a:buNone/>
              <a:defRPr sz="975"/>
            </a:lvl4pPr>
            <a:lvl5pPr marL="1828658" indent="0">
              <a:buNone/>
              <a:defRPr sz="975"/>
            </a:lvl5pPr>
            <a:lvl6pPr marL="2285824" indent="0">
              <a:buNone/>
              <a:defRPr sz="975"/>
            </a:lvl6pPr>
            <a:lvl7pPr marL="2742990" indent="0">
              <a:buNone/>
              <a:defRPr sz="975"/>
            </a:lvl7pPr>
            <a:lvl8pPr marL="3200153" indent="0">
              <a:buNone/>
              <a:defRPr sz="975"/>
            </a:lvl8pPr>
            <a:lvl9pPr marL="3657319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40872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370181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8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550831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3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20"/>
            <a:ext cx="14977532" cy="6864349"/>
          </a:xfrm>
        </p:spPr>
        <p:txBody>
          <a:bodyPr/>
          <a:lstStyle/>
          <a:p>
            <a:pPr lvl="0"/>
            <a:r>
              <a:rPr lang="ru-RU" noProof="0"/>
              <a:t>Вставка таблицы</a:t>
            </a:r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8030037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5" y="391586"/>
            <a:ext cx="2977445" cy="197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79" y="2908302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79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86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3827543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310094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69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380718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5" y="1"/>
          <a:ext cx="281355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" y="1"/>
                        <a:ext cx="281355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861" y="254008"/>
            <a:ext cx="16235159" cy="24595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69738" y="6235750"/>
            <a:ext cx="9409723" cy="292735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166107318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8"/>
            <a:ext cx="7351888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79" y="1500718"/>
            <a:ext cx="7354711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220554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1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1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5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5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3184373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5659572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3701836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5" y="364069"/>
            <a:ext cx="9087556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69"/>
            <a:ext cx="5348112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9399376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0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1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9633692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0859450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3" y="0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8" y="0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3828531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1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18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6243943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9821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25" y="2012960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3350186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4082646"/>
            <a:ext cx="9792270" cy="179906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7282" b="1" kern="1200" baseline="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 err="1"/>
              <a:t>Перебивочный</a:t>
            </a:r>
            <a:r>
              <a:rPr lang="ru-RU" dirty="0"/>
              <a:t> слайд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200883"/>
            <a:ext cx="9792270" cy="1023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7282" b="1" kern="120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Нумерац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67543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8233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5"/>
            <a:ext cx="113792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94FDD-F822-46BC-B56B-D877CC93F2B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247391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1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6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21245851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5681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68" indent="0">
              <a:buNone/>
              <a:defRPr sz="2400"/>
            </a:lvl2pPr>
            <a:lvl3pPr marL="1219137" indent="0">
              <a:buNone/>
              <a:defRPr sz="2100"/>
            </a:lvl3pPr>
            <a:lvl4pPr marL="1828706" indent="0">
              <a:buNone/>
              <a:defRPr sz="1900"/>
            </a:lvl4pPr>
            <a:lvl5pPr marL="2438272" indent="0">
              <a:buNone/>
              <a:defRPr sz="1900"/>
            </a:lvl5pPr>
            <a:lvl6pPr marL="3047841" indent="0">
              <a:buNone/>
              <a:defRPr sz="1900"/>
            </a:lvl6pPr>
            <a:lvl7pPr marL="3657411" indent="0">
              <a:buNone/>
              <a:defRPr sz="1900"/>
            </a:lvl7pPr>
            <a:lvl8pPr marL="4266978" indent="0">
              <a:buNone/>
              <a:defRPr sz="1900"/>
            </a:lvl8pPr>
            <a:lvl9pPr marL="487654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98528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4" y="1500720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945395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36904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315469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41696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2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33171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3293" y="218020"/>
            <a:ext cx="14709422" cy="1109133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32" y="2012960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05102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68" indent="0">
              <a:buNone/>
              <a:defRPr sz="3700"/>
            </a:lvl2pPr>
            <a:lvl3pPr marL="1219137" indent="0">
              <a:buNone/>
              <a:defRPr sz="3200"/>
            </a:lvl3pPr>
            <a:lvl4pPr marL="1828706" indent="0">
              <a:buNone/>
              <a:defRPr sz="2700"/>
            </a:lvl4pPr>
            <a:lvl5pPr marL="2438272" indent="0">
              <a:buNone/>
              <a:defRPr sz="2700"/>
            </a:lvl5pPr>
            <a:lvl6pPr marL="3047841" indent="0">
              <a:buNone/>
              <a:defRPr sz="2700"/>
            </a:lvl6pPr>
            <a:lvl7pPr marL="3657411" indent="0">
              <a:buNone/>
              <a:defRPr sz="2700"/>
            </a:lvl7pPr>
            <a:lvl8pPr marL="4266978" indent="0">
              <a:buNone/>
              <a:defRPr sz="2700"/>
            </a:lvl8pPr>
            <a:lvl9pPr marL="4876548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101545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560396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7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449035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962550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7" y="8114037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1" y="8133652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124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4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5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7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4" y="2622239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472147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1"/>
            <a:ext cx="13817600" cy="82330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6"/>
            <a:ext cx="113792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377"/>
            <a:endParaRPr lang="ru-RU" alt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14377"/>
            <a:endParaRPr lang="ru-RU" alt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14377">
              <a:defRPr/>
            </a:pPr>
            <a:fld id="{FB694FDD-F822-46BC-B56B-D877CC93F2B2}" type="slidenum">
              <a:rPr lang="ru-RU" altLang="ru-RU" smtClean="0">
                <a:solidFill>
                  <a:prstClr val="black"/>
                </a:solidFill>
                <a:latin typeface="Calibri"/>
              </a:rPr>
              <a:pPr defTabSz="914377">
                <a:defRPr/>
              </a:pPr>
              <a:t>‹#›</a:t>
            </a:fld>
            <a:endParaRPr lang="ru-RU" alt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132227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124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4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972355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12800" y="366527"/>
            <a:ext cx="14630400" cy="1525413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6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12800" y="2135577"/>
            <a:ext cx="14630400" cy="604020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50134" y="8482983"/>
            <a:ext cx="665705" cy="656590"/>
          </a:xfrm>
          <a:prstGeom prst="rect">
            <a:avLst/>
          </a:prstGeom>
        </p:spPr>
        <p:txBody>
          <a:bodyPr anchor="t"/>
          <a:lstStyle>
            <a:lvl1pPr algn="l">
              <a:defRPr sz="3200"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3311818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7" y="8114037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1" y="8133652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5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7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4" y="2622239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23320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7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1945" rtl="0" eaLnBrk="1" fontAlgn="auto" latinLnBrk="0" hangingPunct="1">
              <a:lnSpc>
                <a:spcPct val="90000"/>
              </a:lnSpc>
              <a:spcBef>
                <a:spcPts val="1773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1945" rtl="0" eaLnBrk="1" fontAlgn="auto" latinLnBrk="0" hangingPunct="1">
              <a:lnSpc>
                <a:spcPct val="90000"/>
              </a:lnSpc>
              <a:spcBef>
                <a:spcPts val="17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3" y="8133653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199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199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96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7" y="2622243"/>
            <a:ext cx="7137401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548514" y="2622243"/>
            <a:ext cx="7004756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959557" y="5000384"/>
            <a:ext cx="7137401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548514" y="5000384"/>
            <a:ext cx="7004756" cy="2185601"/>
          </a:xfrm>
          <a:prstGeom prst="rect">
            <a:avLst/>
          </a:prstGeom>
        </p:spPr>
        <p:txBody>
          <a:bodyPr lIns="0" tIns="0" rIns="0" bIns="0"/>
          <a:lstStyle>
            <a:lvl1pPr marL="304116" indent="-304116">
              <a:buFont typeface="Arial" pitchFamily="34" charset="0"/>
              <a:buChar char="•"/>
              <a:defRPr lang="en-US" sz="20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108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9665" y="402588"/>
            <a:ext cx="14252215" cy="3977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5501521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06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9765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9D7382F9-6774-4951-9D0B-4CE6C2BBEEF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890496" y="8532699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914400" rtl="0" eaLnBrk="1" latinLnBrk="0" hangingPunct="1">
              <a:defRPr sz="1238" b="1" kern="1200">
                <a:solidFill>
                  <a:schemeClr val="hlink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9D8EAE2-23B3-43E0-9302-7FF9E6541F7A}" type="slidenum">
              <a:rPr lang="ru-RU" sz="2199" smtClean="0">
                <a:solidFill>
                  <a:srgbClr val="003274"/>
                </a:solidFill>
                <a:cs typeface="Arial"/>
              </a:rPr>
              <a:pPr>
                <a:defRPr/>
              </a:pPr>
              <a:t>‹#›</a:t>
            </a:fld>
            <a:endParaRPr lang="ru-RU" sz="2199" dirty="0">
              <a:solidFill>
                <a:srgbClr val="003274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6668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789312" y="465667"/>
            <a:ext cx="1325684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ru-RU" sz="1200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5313379" y="48684"/>
            <a:ext cx="536222" cy="1672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217750" eaLnBrk="1" hangingPunct="1">
              <a:defRPr/>
            </a:pPr>
            <a:endParaRPr lang="ru-RU" sz="1067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789313" y="677334"/>
            <a:ext cx="3785845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12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12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789312" y="891118"/>
            <a:ext cx="3359446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12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1200" dirty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0"/>
            <a:ext cx="16250356" cy="9146117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217750" eaLnBrk="1" hangingPunct="1">
                <a:defRPr/>
              </a:pPr>
              <a:r>
                <a:rPr lang="ru-RU" sz="1867" dirty="0">
                  <a:solidFill>
                    <a:srgbClr val="000000"/>
                  </a:solidFill>
                  <a:cs typeface="+mn-cs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217750" eaLnBrk="1" hangingPunct="1">
                <a:defRPr/>
              </a:pPr>
              <a:r>
                <a:rPr lang="ru-RU" sz="1867" dirty="0">
                  <a:solidFill>
                    <a:srgbClr val="000000"/>
                  </a:solidFill>
                  <a:cs typeface="+mn-cs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1093501" eaLnBrk="0" hangingPunct="0">
                <a:defRPr/>
              </a:pPr>
              <a:r>
                <a:rPr lang="ru-RU" sz="1067" dirty="0">
                  <a:solidFill>
                    <a:srgbClr val="000000"/>
                  </a:solidFill>
                  <a:latin typeface="+mn-lt"/>
                  <a:cs typeface="+mn-cs"/>
                </a:rPr>
                <a:t>КОНФИДЕНЦИАЛЬНАЯ ИНФОРМАЦИЯ, СОБСТВЕННОСТЬ McKINSEY &amp; COMPANY</a:t>
              </a:r>
            </a:p>
            <a:p>
              <a:pPr defTabSz="1093501" eaLnBrk="0" hangingPunct="0">
                <a:defRPr/>
              </a:pPr>
              <a:r>
                <a:rPr lang="ru-RU" sz="1067" dirty="0">
                  <a:solidFill>
                    <a:srgbClr val="000000"/>
                  </a:solidFill>
                  <a:latin typeface="+mn-lt"/>
                  <a:cs typeface="+mn-cs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1217750">
                <a:defRPr/>
              </a:pPr>
              <a:endParaRPr lang="ru-RU" sz="2133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1217750">
                <a:defRPr/>
              </a:pPr>
              <a:endParaRPr lang="ru-RU" sz="2133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1217750">
                <a:defRPr/>
              </a:pPr>
              <a:endParaRPr lang="ru-RU" sz="2133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3267" y="8765117"/>
            <a:ext cx="2968978" cy="262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2579" y="258234"/>
            <a:ext cx="16227778" cy="2510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853290" y="6157384"/>
            <a:ext cx="10402711" cy="2986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788992" y="4231089"/>
            <a:ext cx="8953038" cy="677108"/>
          </a:xfrm>
          <a:prstGeom prst="rect">
            <a:avLst/>
          </a:prstGeo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788992" y="5260932"/>
            <a:ext cx="8953038" cy="293093"/>
          </a:xfr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62935348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5502468" y="8754534"/>
            <a:ext cx="378178" cy="207433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217750">
              <a:defRPr/>
            </a:pPr>
            <a:fld id="{5BCDA6DC-27EC-4E71-B41E-DF5402CFE6F0}" type="slidenum">
              <a:rPr lang="en-US" sz="1333" smtClean="0">
                <a:solidFill>
                  <a:srgbClr val="000000"/>
                </a:solidFill>
                <a:cs typeface="+mn-cs"/>
              </a:rPr>
              <a:pPr defTabSz="1217750">
                <a:defRPr/>
              </a:pPr>
              <a:t>‹#›</a:t>
            </a:fld>
            <a:endParaRPr lang="en-US" sz="13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9661" y="402597"/>
            <a:ext cx="14252215" cy="3977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968403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5502468" y="8754534"/>
            <a:ext cx="378178" cy="207433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217750">
              <a:defRPr/>
            </a:pPr>
            <a:fld id="{2839C697-E5D1-4B20-B487-BEEE4BB37D32}" type="slidenum">
              <a:rPr lang="en-US" sz="1333" smtClean="0">
                <a:solidFill>
                  <a:srgbClr val="000000"/>
                </a:solidFill>
                <a:cs typeface="+mn-cs"/>
              </a:rPr>
              <a:pPr defTabSz="1217750">
                <a:defRPr/>
              </a:pPr>
              <a:t>‹#›</a:t>
            </a:fld>
            <a:endParaRPr lang="en-US" sz="13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81057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75734" y="391585"/>
            <a:ext cx="2977445" cy="197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3" y="3381202"/>
            <a:ext cx="14720711" cy="430118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414" y="4665696"/>
            <a:ext cx="6654800" cy="293093"/>
          </a:xfrm>
          <a:ln/>
        </p:spPr>
        <p:txBody>
          <a:bodyPr anchor="ctr"/>
          <a:lstStyle>
            <a:lvl1pPr marL="0" indent="0">
              <a:buFontTx/>
              <a:buNone/>
              <a:defRPr sz="186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4085494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59556" y="8114035"/>
            <a:ext cx="7137401" cy="26303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43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62406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4554200" y="8133650"/>
            <a:ext cx="999067" cy="24341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43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43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959556" y="766934"/>
            <a:ext cx="11664245" cy="586479"/>
          </a:xfrm>
          <a:prstGeom prst="rect">
            <a:avLst/>
          </a:prstGeom>
        </p:spPr>
        <p:txBody>
          <a:bodyPr lIns="0" tIns="0" rIns="0" bIns="0"/>
          <a:lstStyle>
            <a:lvl1pPr>
              <a:defRPr sz="4085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59556" y="2622240"/>
            <a:ext cx="7137401" cy="43797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21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21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8548513" y="2622238"/>
            <a:ext cx="7004756" cy="43639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43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71227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56" y="391602"/>
            <a:ext cx="2977445" cy="197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5" y="2908338"/>
            <a:ext cx="14720711" cy="137583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412" y="4379403"/>
            <a:ext cx="6654800" cy="865716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86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53268005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827868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87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2667"/>
            </a:lvl1pPr>
            <a:lvl2pPr marL="608817" indent="0">
              <a:buNone/>
              <a:defRPr sz="2400"/>
            </a:lvl2pPr>
            <a:lvl3pPr marL="1217620" indent="0">
              <a:buNone/>
              <a:defRPr sz="2133"/>
            </a:lvl3pPr>
            <a:lvl4pPr marL="1826430" indent="0">
              <a:buNone/>
              <a:defRPr sz="1867"/>
            </a:lvl4pPr>
            <a:lvl5pPr marL="2435240" indent="0">
              <a:buNone/>
              <a:defRPr sz="1867"/>
            </a:lvl5pPr>
            <a:lvl6pPr marL="3044051" indent="0">
              <a:buNone/>
              <a:defRPr sz="1867"/>
            </a:lvl6pPr>
            <a:lvl7pPr marL="3652859" indent="0">
              <a:buNone/>
              <a:defRPr sz="1867"/>
            </a:lvl7pPr>
            <a:lvl8pPr marL="4261671" indent="0">
              <a:buNone/>
              <a:defRPr sz="1867"/>
            </a:lvl8pPr>
            <a:lvl9pPr marL="4870480" indent="0">
              <a:buNone/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06816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0279" y="2011201"/>
            <a:ext cx="14757415" cy="61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5444683" y="9102400"/>
            <a:ext cx="313108" cy="1776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414142"/>
                </a:solidFill>
                <a:latin typeface="Arial"/>
              </a:rPr>
              <a:t>‹#›</a:t>
            </a:r>
          </a:p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37" y="155511"/>
            <a:ext cx="1644830" cy="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659349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2569" y="1500731"/>
            <a:ext cx="7351888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55414" y="1500731"/>
            <a:ext cx="7354711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973931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2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817" indent="0">
              <a:buNone/>
              <a:defRPr sz="2667" b="1"/>
            </a:lvl2pPr>
            <a:lvl3pPr marL="1217620" indent="0">
              <a:buNone/>
              <a:defRPr sz="2400" b="1"/>
            </a:lvl3pPr>
            <a:lvl4pPr marL="1826430" indent="0">
              <a:buNone/>
              <a:defRPr sz="2133" b="1"/>
            </a:lvl4pPr>
            <a:lvl5pPr marL="2435240" indent="0">
              <a:buNone/>
              <a:defRPr sz="2133" b="1"/>
            </a:lvl5pPr>
            <a:lvl6pPr marL="3044051" indent="0">
              <a:buNone/>
              <a:defRPr sz="2133" b="1"/>
            </a:lvl6pPr>
            <a:lvl7pPr marL="3652859" indent="0">
              <a:buNone/>
              <a:defRPr sz="2133" b="1"/>
            </a:lvl7pPr>
            <a:lvl8pPr marL="4261671" indent="0">
              <a:buNone/>
              <a:defRPr sz="2133" b="1"/>
            </a:lvl8pPr>
            <a:lvl9pPr marL="4870480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1282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32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817" indent="0">
              <a:buNone/>
              <a:defRPr sz="2667" b="1"/>
            </a:lvl2pPr>
            <a:lvl3pPr marL="1217620" indent="0">
              <a:buNone/>
              <a:defRPr sz="2400" b="1"/>
            </a:lvl3pPr>
            <a:lvl4pPr marL="1826430" indent="0">
              <a:buNone/>
              <a:defRPr sz="2133" b="1"/>
            </a:lvl4pPr>
            <a:lvl5pPr marL="2435240" indent="0">
              <a:buNone/>
              <a:defRPr sz="2133" b="1"/>
            </a:lvl5pPr>
            <a:lvl6pPr marL="3044051" indent="0">
              <a:buNone/>
              <a:defRPr sz="2133" b="1"/>
            </a:lvl6pPr>
            <a:lvl7pPr marL="3652859" indent="0">
              <a:buNone/>
              <a:defRPr sz="2133" b="1"/>
            </a:lvl7pPr>
            <a:lvl8pPr marL="4261671" indent="0">
              <a:buNone/>
              <a:defRPr sz="2133" b="1"/>
            </a:lvl8pPr>
            <a:lvl9pPr marL="4870480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57832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940387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622985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38872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24" y="364067"/>
            <a:ext cx="5348112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55647" y="364103"/>
            <a:ext cx="9087556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24" y="1913471"/>
            <a:ext cx="5348112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8817" indent="0">
              <a:buNone/>
              <a:defRPr sz="1600"/>
            </a:lvl2pPr>
            <a:lvl3pPr marL="1217620" indent="0">
              <a:buNone/>
              <a:defRPr sz="1333"/>
            </a:lvl3pPr>
            <a:lvl4pPr marL="1826430" indent="0">
              <a:buNone/>
              <a:defRPr sz="1200"/>
            </a:lvl4pPr>
            <a:lvl5pPr marL="2435240" indent="0">
              <a:buNone/>
              <a:defRPr sz="1200"/>
            </a:lvl5pPr>
            <a:lvl6pPr marL="3044051" indent="0">
              <a:buNone/>
              <a:defRPr sz="1200"/>
            </a:lvl6pPr>
            <a:lvl7pPr marL="3652859" indent="0">
              <a:buNone/>
              <a:defRPr sz="1200"/>
            </a:lvl7pPr>
            <a:lvl8pPr marL="4261671" indent="0">
              <a:buNone/>
              <a:defRPr sz="1200"/>
            </a:lvl8pPr>
            <a:lvl9pPr marL="487048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214508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0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267"/>
            </a:lvl1pPr>
            <a:lvl2pPr marL="608817" indent="0">
              <a:buNone/>
              <a:defRPr sz="3733"/>
            </a:lvl2pPr>
            <a:lvl3pPr marL="1217620" indent="0">
              <a:buNone/>
              <a:defRPr sz="3200"/>
            </a:lvl3pPr>
            <a:lvl4pPr marL="1826430" indent="0">
              <a:buNone/>
              <a:defRPr sz="2667"/>
            </a:lvl4pPr>
            <a:lvl5pPr marL="2435240" indent="0">
              <a:buNone/>
              <a:defRPr sz="2667"/>
            </a:lvl5pPr>
            <a:lvl6pPr marL="3044051" indent="0">
              <a:buNone/>
              <a:defRPr sz="2667"/>
            </a:lvl6pPr>
            <a:lvl7pPr marL="3652859" indent="0">
              <a:buNone/>
              <a:defRPr sz="2667"/>
            </a:lvl7pPr>
            <a:lvl8pPr marL="4261671" indent="0">
              <a:buNone/>
              <a:defRPr sz="2667"/>
            </a:lvl8pPr>
            <a:lvl9pPr marL="4870480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1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8817" indent="0">
              <a:buNone/>
              <a:defRPr sz="1600"/>
            </a:lvl2pPr>
            <a:lvl3pPr marL="1217620" indent="0">
              <a:buNone/>
              <a:defRPr sz="1333"/>
            </a:lvl3pPr>
            <a:lvl4pPr marL="1826430" indent="0">
              <a:buNone/>
              <a:defRPr sz="1200"/>
            </a:lvl4pPr>
            <a:lvl5pPr marL="2435240" indent="0">
              <a:buNone/>
              <a:defRPr sz="1200"/>
            </a:lvl5pPr>
            <a:lvl6pPr marL="3044051" indent="0">
              <a:buNone/>
              <a:defRPr sz="1200"/>
            </a:lvl6pPr>
            <a:lvl7pPr marL="3652859" indent="0">
              <a:buNone/>
              <a:defRPr sz="1200"/>
            </a:lvl7pPr>
            <a:lvl8pPr marL="4261671" indent="0">
              <a:buNone/>
              <a:defRPr sz="1200"/>
            </a:lvl8pPr>
            <a:lvl9pPr marL="487048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989252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072328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3" y="16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89" y="16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877522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00" y="2840604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79200" cy="23368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45E79E-BFC1-4104-9E69-5A48DD2636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931524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F9F564-2BA8-4667-A666-BCECDF4FDF0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3647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5770" y="391590"/>
            <a:ext cx="2977445" cy="197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5" y="2908349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91" y="4379387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2719461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903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6409D-CBD0-4CB5-ABD7-3ED0358FFEC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29881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80" y="1500718"/>
            <a:ext cx="7351888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403" y="1500718"/>
            <a:ext cx="7354711" cy="6864349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043F5D-8245-475C-A38D-D84C0B427EB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854088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1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1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32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32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8048AD-0E5B-456B-988B-5E97EF6293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996525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DC12AF-5012-4158-B12B-53605076309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48847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D146C-4AD4-46E8-9934-88015BCC60A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411138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7" y="364102"/>
            <a:ext cx="9087556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71"/>
            <a:ext cx="5348112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B6F010-7BD1-425C-9364-33251E26184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233895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0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1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0D5BA-D780-4D88-82E3-60A0CA0CA4F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140299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02F9E6-5542-40B3-9ED4-F985C890601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43516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3" y="0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67" y="0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8B24B7-80B1-4C64-9D55-0B3CAA97CB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27888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1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32558" y="1500718"/>
            <a:ext cx="14977532" cy="6864349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02336F-C57F-4DE3-92D1-D5A199B5676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0576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7194969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1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18"/>
            <a:ext cx="14977532" cy="6864349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B82999-FF58-4FA9-83B1-903196154D7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239882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5325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892" y="2169"/>
          <a:ext cx="2878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2" y="2169"/>
                        <a:ext cx="2878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788969" y="466487"/>
            <a:ext cx="13256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5314332" y="49674"/>
            <a:ext cx="535627" cy="16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1067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788969" y="678142"/>
            <a:ext cx="424795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788980" y="891948"/>
            <a:ext cx="37281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645731" y="6714302"/>
            <a:ext cx="8953040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645731" y="7072888"/>
            <a:ext cx="8953040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1" y="8"/>
            <a:ext cx="16250240" cy="9144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328" tIns="62164" rIns="124328" bIns="6216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13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3450" y="8766069"/>
            <a:ext cx="2968987" cy="26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645721" y="4231079"/>
            <a:ext cx="8953038" cy="677108"/>
          </a:xfrm>
          <a:prstGeom prst="rect">
            <a:avLst/>
          </a:prstGeo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645721" y="5260932"/>
            <a:ext cx="8953038" cy="293093"/>
          </a:xfrm>
        </p:spPr>
        <p:txBody>
          <a:bodyPr>
            <a:spAutoFit/>
          </a:bodyPr>
          <a:lstStyle>
            <a:lvl1pPr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464" y="6157192"/>
            <a:ext cx="10401536" cy="2986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8" y="259167"/>
            <a:ext cx="16227204" cy="250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5733" y="2825777"/>
            <a:ext cx="2231781" cy="1202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135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34660" y="449541"/>
            <a:ext cx="12119618" cy="397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15233611" y="8579877"/>
            <a:ext cx="695143" cy="576898"/>
          </a:xfrm>
          <a:prstGeom prst="rect">
            <a:avLst/>
          </a:prstGeom>
        </p:spPr>
        <p:txBody>
          <a:bodyPr wrap="none" lIns="124341" tIns="62171" rIns="124341" bIns="6217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2933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29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5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2615963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911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617" indent="0">
              <a:buNone/>
              <a:defRPr sz="2900"/>
            </a:lvl2pPr>
            <a:lvl3pPr marL="1451233" indent="0">
              <a:buNone/>
              <a:defRPr sz="2500"/>
            </a:lvl3pPr>
            <a:lvl4pPr marL="2176850" indent="0">
              <a:buNone/>
              <a:defRPr sz="2200"/>
            </a:lvl4pPr>
            <a:lvl5pPr marL="2902469" indent="0">
              <a:buNone/>
              <a:defRPr sz="2200"/>
            </a:lvl5pPr>
            <a:lvl6pPr marL="3628087" indent="0">
              <a:buNone/>
              <a:defRPr sz="2200"/>
            </a:lvl6pPr>
            <a:lvl7pPr marL="4353700" indent="0">
              <a:buNone/>
              <a:defRPr sz="2200"/>
            </a:lvl7pPr>
            <a:lvl8pPr marL="5079320" indent="0">
              <a:buNone/>
              <a:defRPr sz="2200"/>
            </a:lvl8pPr>
            <a:lvl9pPr marL="5804935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799997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88" y="1500720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413" y="1500720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1515694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4" y="2046817"/>
            <a:ext cx="7182556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9" indent="0">
              <a:buNone/>
              <a:defRPr sz="2500" b="1"/>
            </a:lvl5pPr>
            <a:lvl6pPr marL="3628087" indent="0">
              <a:buNone/>
              <a:defRPr sz="2500" b="1"/>
            </a:lvl6pPr>
            <a:lvl7pPr marL="4353700" indent="0">
              <a:buNone/>
              <a:defRPr sz="2500" b="1"/>
            </a:lvl7pPr>
            <a:lvl8pPr marL="5079320" indent="0">
              <a:buNone/>
              <a:defRPr sz="2500" b="1"/>
            </a:lvl8pPr>
            <a:lvl9pPr marL="5804935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4" y="2899833"/>
            <a:ext cx="7182556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9" y="2046817"/>
            <a:ext cx="7185380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9" indent="0">
              <a:buNone/>
              <a:defRPr sz="2500" b="1"/>
            </a:lvl5pPr>
            <a:lvl6pPr marL="3628087" indent="0">
              <a:buNone/>
              <a:defRPr sz="2500" b="1"/>
            </a:lvl6pPr>
            <a:lvl7pPr marL="4353700" indent="0">
              <a:buNone/>
              <a:defRPr sz="2500" b="1"/>
            </a:lvl7pPr>
            <a:lvl8pPr marL="5079320" indent="0">
              <a:buNone/>
              <a:defRPr sz="2500" b="1"/>
            </a:lvl8pPr>
            <a:lvl9pPr marL="5804935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9" y="2899833"/>
            <a:ext cx="7185380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818343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1924292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486891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8" y="364075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40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9" indent="0">
              <a:buNone/>
              <a:defRPr sz="1400"/>
            </a:lvl5pPr>
            <a:lvl6pPr marL="3628087" indent="0">
              <a:buNone/>
              <a:defRPr sz="1400"/>
            </a:lvl6pPr>
            <a:lvl7pPr marL="4353700" indent="0">
              <a:buNone/>
              <a:defRPr sz="1400"/>
            </a:lvl7pPr>
            <a:lvl8pPr marL="5079320" indent="0">
              <a:buNone/>
              <a:defRPr sz="1400"/>
            </a:lvl8pPr>
            <a:lvl9pPr marL="5804935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4860809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2" y="6400801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2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617" indent="0">
              <a:buNone/>
              <a:defRPr sz="4400"/>
            </a:lvl2pPr>
            <a:lvl3pPr marL="1451233" indent="0">
              <a:buNone/>
              <a:defRPr sz="4000"/>
            </a:lvl3pPr>
            <a:lvl4pPr marL="2176850" indent="0">
              <a:buNone/>
              <a:defRPr sz="3200"/>
            </a:lvl4pPr>
            <a:lvl5pPr marL="2902469" indent="0">
              <a:buNone/>
              <a:defRPr sz="3200"/>
            </a:lvl5pPr>
            <a:lvl6pPr marL="3628087" indent="0">
              <a:buNone/>
              <a:defRPr sz="3200"/>
            </a:lvl6pPr>
            <a:lvl7pPr marL="4353700" indent="0">
              <a:buNone/>
              <a:defRPr sz="3200"/>
            </a:lvl7pPr>
            <a:lvl8pPr marL="5079320" indent="0">
              <a:buNone/>
              <a:defRPr sz="3200"/>
            </a:lvl8pPr>
            <a:lvl9pPr marL="5804935" indent="0">
              <a:buNone/>
              <a:defRPr sz="32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2" y="7156452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9" indent="0">
              <a:buNone/>
              <a:defRPr sz="1400"/>
            </a:lvl5pPr>
            <a:lvl6pPr marL="3628087" indent="0">
              <a:buNone/>
              <a:defRPr sz="1400"/>
            </a:lvl6pPr>
            <a:lvl7pPr marL="4353700" indent="0">
              <a:buNone/>
              <a:defRPr sz="1400"/>
            </a:lvl7pPr>
            <a:lvl8pPr marL="5079320" indent="0">
              <a:buNone/>
              <a:defRPr sz="1400"/>
            </a:lvl8pPr>
            <a:lvl9pPr marL="5804935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0793089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2660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39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72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588181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832558" y="1"/>
            <a:ext cx="14977532" cy="83650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862839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911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4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617" indent="0">
              <a:buNone/>
              <a:defRPr sz="2900"/>
            </a:lvl2pPr>
            <a:lvl3pPr marL="1451233" indent="0">
              <a:buNone/>
              <a:defRPr sz="2500"/>
            </a:lvl3pPr>
            <a:lvl4pPr marL="2176850" indent="0">
              <a:buNone/>
              <a:defRPr sz="2200"/>
            </a:lvl4pPr>
            <a:lvl5pPr marL="2902464" indent="0">
              <a:buNone/>
              <a:defRPr sz="2200"/>
            </a:lvl5pPr>
            <a:lvl6pPr marL="3628082" indent="0">
              <a:buNone/>
              <a:defRPr sz="2200"/>
            </a:lvl6pPr>
            <a:lvl7pPr marL="4353697" indent="0">
              <a:buNone/>
              <a:defRPr sz="2200"/>
            </a:lvl7pPr>
            <a:lvl8pPr marL="5079316" indent="0">
              <a:buNone/>
              <a:defRPr sz="2200"/>
            </a:lvl8pPr>
            <a:lvl9pPr marL="5804931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587779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5" y="1"/>
          <a:ext cx="281355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" y="1"/>
                        <a:ext cx="281355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858" y="254007"/>
            <a:ext cx="16235159" cy="24595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69736" y="6235749"/>
            <a:ext cx="9409723" cy="292735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367973490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25" y="2012958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83537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3293" y="218020"/>
            <a:ext cx="14709422" cy="1109133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3332" y="2012958"/>
            <a:ext cx="14709424" cy="6151033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204965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9661" y="402586"/>
            <a:ext cx="14252215" cy="3977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5501519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063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0279" y="2011201"/>
            <a:ext cx="14757415" cy="61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5444683" y="9102400"/>
            <a:ext cx="313108" cy="1776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414142"/>
                </a:solidFill>
                <a:latin typeface="Arial"/>
              </a:rPr>
              <a:t>‹#›</a:t>
            </a:r>
          </a:p>
          <a:p>
            <a:pPr algn="r" defTabSz="145138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37" y="155511"/>
            <a:ext cx="1644830" cy="9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81002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1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6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931773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2949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68" indent="0">
              <a:buNone/>
              <a:defRPr sz="2400"/>
            </a:lvl2pPr>
            <a:lvl3pPr marL="1219137" indent="0">
              <a:buNone/>
              <a:defRPr sz="2100"/>
            </a:lvl3pPr>
            <a:lvl4pPr marL="1828706" indent="0">
              <a:buNone/>
              <a:defRPr sz="1900"/>
            </a:lvl4pPr>
            <a:lvl5pPr marL="2438272" indent="0">
              <a:buNone/>
              <a:defRPr sz="1900"/>
            </a:lvl5pPr>
            <a:lvl6pPr marL="3047841" indent="0">
              <a:buNone/>
              <a:defRPr sz="1900"/>
            </a:lvl6pPr>
            <a:lvl7pPr marL="3657411" indent="0">
              <a:buNone/>
              <a:defRPr sz="1900"/>
            </a:lvl7pPr>
            <a:lvl8pPr marL="4266978" indent="0">
              <a:buNone/>
              <a:defRPr sz="1900"/>
            </a:lvl8pPr>
            <a:lvl9pPr marL="487654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8977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4" y="1500720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65803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3239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89" y="1500720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416" y="1500720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40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527068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655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2318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2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69777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68" indent="0">
              <a:buNone/>
              <a:defRPr sz="3700"/>
            </a:lvl2pPr>
            <a:lvl3pPr marL="1219137" indent="0">
              <a:buNone/>
              <a:defRPr sz="3200"/>
            </a:lvl3pPr>
            <a:lvl4pPr marL="1828706" indent="0">
              <a:buNone/>
              <a:defRPr sz="2700"/>
            </a:lvl4pPr>
            <a:lvl5pPr marL="2438272" indent="0">
              <a:buNone/>
              <a:defRPr sz="2700"/>
            </a:lvl5pPr>
            <a:lvl6pPr marL="3047841" indent="0">
              <a:buNone/>
              <a:defRPr sz="2700"/>
            </a:lvl6pPr>
            <a:lvl7pPr marL="3657411" indent="0">
              <a:buNone/>
              <a:defRPr sz="2700"/>
            </a:lvl7pPr>
            <a:lvl8pPr marL="4266978" indent="0">
              <a:buNone/>
              <a:defRPr sz="2700"/>
            </a:lvl8pPr>
            <a:lvl9pPr marL="4876548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3176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65305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7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52916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71"/>
            <a:ext cx="2221908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6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80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931773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2949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1"/>
            <a:ext cx="13817600" cy="1816100"/>
          </a:xfrm>
        </p:spPr>
        <p:txBody>
          <a:bodyPr anchor="t"/>
          <a:lstStyle>
            <a:lvl1pPr algn="l">
              <a:defRPr sz="5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2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68" indent="0">
              <a:buNone/>
              <a:defRPr sz="2400"/>
            </a:lvl2pPr>
            <a:lvl3pPr marL="1219137" indent="0">
              <a:buNone/>
              <a:defRPr sz="2100"/>
            </a:lvl3pPr>
            <a:lvl4pPr marL="1828706" indent="0">
              <a:buNone/>
              <a:defRPr sz="1900"/>
            </a:lvl4pPr>
            <a:lvl5pPr marL="2438272" indent="0">
              <a:buNone/>
              <a:defRPr sz="1900"/>
            </a:lvl5pPr>
            <a:lvl6pPr marL="3047841" indent="0">
              <a:buNone/>
              <a:defRPr sz="1900"/>
            </a:lvl6pPr>
            <a:lvl7pPr marL="3657411" indent="0">
              <a:buNone/>
              <a:defRPr sz="1900"/>
            </a:lvl7pPr>
            <a:lvl8pPr marL="4266978" indent="0">
              <a:buNone/>
              <a:defRPr sz="1900"/>
            </a:lvl8pPr>
            <a:lvl9pPr marL="487654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8977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20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4" y="1500720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65803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4" y="2046817"/>
            <a:ext cx="7182556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4" indent="0">
              <a:buNone/>
              <a:defRPr sz="2500" b="1"/>
            </a:lvl5pPr>
            <a:lvl6pPr marL="3628082" indent="0">
              <a:buNone/>
              <a:defRPr sz="2500" b="1"/>
            </a:lvl6pPr>
            <a:lvl7pPr marL="4353697" indent="0">
              <a:buNone/>
              <a:defRPr sz="2500" b="1"/>
            </a:lvl7pPr>
            <a:lvl8pPr marL="5079316" indent="0">
              <a:buNone/>
              <a:defRPr sz="2500" b="1"/>
            </a:lvl8pPr>
            <a:lvl9pPr marL="5804931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4" y="2899833"/>
            <a:ext cx="7182556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9" y="2046817"/>
            <a:ext cx="7185380" cy="853016"/>
          </a:xfrm>
        </p:spPr>
        <p:txBody>
          <a:bodyPr anchor="b"/>
          <a:lstStyle>
            <a:lvl1pPr marL="0" indent="0">
              <a:buNone/>
              <a:defRPr sz="4000" b="1"/>
            </a:lvl1pPr>
            <a:lvl2pPr marL="725617" indent="0">
              <a:buNone/>
              <a:defRPr sz="3200" b="1"/>
            </a:lvl2pPr>
            <a:lvl3pPr marL="1451233" indent="0">
              <a:buNone/>
              <a:defRPr sz="2900" b="1"/>
            </a:lvl3pPr>
            <a:lvl4pPr marL="2176850" indent="0">
              <a:buNone/>
              <a:defRPr sz="2500" b="1"/>
            </a:lvl4pPr>
            <a:lvl5pPr marL="2902464" indent="0">
              <a:buNone/>
              <a:defRPr sz="2500" b="1"/>
            </a:lvl5pPr>
            <a:lvl6pPr marL="3628082" indent="0">
              <a:buNone/>
              <a:defRPr sz="2500" b="1"/>
            </a:lvl6pPr>
            <a:lvl7pPr marL="4353697" indent="0">
              <a:buNone/>
              <a:defRPr sz="2500" b="1"/>
            </a:lvl7pPr>
            <a:lvl8pPr marL="5079316" indent="0">
              <a:buNone/>
              <a:defRPr sz="2500" b="1"/>
            </a:lvl8pPr>
            <a:lvl9pPr marL="5804931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9" y="2899833"/>
            <a:ext cx="7185380" cy="5268384"/>
          </a:xfrm>
        </p:spPr>
        <p:txBody>
          <a:bodyPr/>
          <a:lstStyle>
            <a:lvl1pPr>
              <a:defRPr sz="40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4259208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8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68" indent="0">
              <a:buNone/>
              <a:defRPr sz="2700" b="1"/>
            </a:lvl2pPr>
            <a:lvl3pPr marL="1219137" indent="0">
              <a:buNone/>
              <a:defRPr sz="2400" b="1"/>
            </a:lvl3pPr>
            <a:lvl4pPr marL="1828706" indent="0">
              <a:buNone/>
              <a:defRPr sz="2100" b="1"/>
            </a:lvl4pPr>
            <a:lvl5pPr marL="2438272" indent="0">
              <a:buNone/>
              <a:defRPr sz="2100" b="1"/>
            </a:lvl5pPr>
            <a:lvl6pPr marL="3047841" indent="0">
              <a:buNone/>
              <a:defRPr sz="2100" b="1"/>
            </a:lvl6pPr>
            <a:lvl7pPr marL="3657411" indent="0">
              <a:buNone/>
              <a:defRPr sz="2100" b="1"/>
            </a:lvl7pPr>
            <a:lvl8pPr marL="4266978" indent="0">
              <a:buNone/>
              <a:defRPr sz="2100" b="1"/>
            </a:lvl8pPr>
            <a:lvl9pPr marL="487654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8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32396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65592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2318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2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2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697773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68" indent="0">
              <a:buNone/>
              <a:defRPr sz="3700"/>
            </a:lvl2pPr>
            <a:lvl3pPr marL="1219137" indent="0">
              <a:buNone/>
              <a:defRPr sz="3200"/>
            </a:lvl3pPr>
            <a:lvl4pPr marL="1828706" indent="0">
              <a:buNone/>
              <a:defRPr sz="2700"/>
            </a:lvl4pPr>
            <a:lvl5pPr marL="2438272" indent="0">
              <a:buNone/>
              <a:defRPr sz="2700"/>
            </a:lvl5pPr>
            <a:lvl6pPr marL="3047841" indent="0">
              <a:buNone/>
              <a:defRPr sz="2700"/>
            </a:lvl6pPr>
            <a:lvl7pPr marL="3657411" indent="0">
              <a:buNone/>
              <a:defRPr sz="2700"/>
            </a:lvl7pPr>
            <a:lvl8pPr marL="4266978" indent="0">
              <a:buNone/>
              <a:defRPr sz="2700"/>
            </a:lvl8pPr>
            <a:lvl9pPr marL="4876548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68" indent="0">
              <a:buNone/>
              <a:defRPr sz="1600"/>
            </a:lvl2pPr>
            <a:lvl3pPr marL="1219137" indent="0">
              <a:buNone/>
              <a:defRPr sz="1300"/>
            </a:lvl3pPr>
            <a:lvl4pPr marL="1828706" indent="0">
              <a:buNone/>
              <a:defRPr sz="1300"/>
            </a:lvl4pPr>
            <a:lvl5pPr marL="2438272" indent="0">
              <a:buNone/>
              <a:defRPr sz="1300"/>
            </a:lvl5pPr>
            <a:lvl6pPr marL="3047841" indent="0">
              <a:buNone/>
              <a:defRPr sz="1300"/>
            </a:lvl6pPr>
            <a:lvl7pPr marL="3657411" indent="0">
              <a:buNone/>
              <a:defRPr sz="1300"/>
            </a:lvl7pPr>
            <a:lvl8pPr marL="4266978" indent="0">
              <a:buNone/>
              <a:defRPr sz="1300"/>
            </a:lvl8pPr>
            <a:lvl9pPr marL="4876548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31765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65305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7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52916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8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8" y="1500720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242769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4" y="391585"/>
            <a:ext cx="2977445" cy="197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78" y="2908301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79" y="4379385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9111356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EE416B-8C61-4175-9AD4-A84A6E21C290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33157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9460418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67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18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714" indent="0">
              <a:buNone/>
              <a:defRPr sz="2900"/>
            </a:lvl2pPr>
            <a:lvl3pPr marL="1451427" indent="0">
              <a:buNone/>
              <a:defRPr sz="2500"/>
            </a:lvl3pPr>
            <a:lvl4pPr marL="2177141" indent="0">
              <a:buNone/>
              <a:defRPr sz="2200"/>
            </a:lvl4pPr>
            <a:lvl5pPr marL="2902854" indent="0">
              <a:buNone/>
              <a:defRPr sz="2200"/>
            </a:lvl5pPr>
            <a:lvl6pPr marL="3628568" indent="0">
              <a:buNone/>
              <a:defRPr sz="2200"/>
            </a:lvl6pPr>
            <a:lvl7pPr marL="4354281" indent="0">
              <a:buNone/>
              <a:defRPr sz="2200"/>
            </a:lvl7pPr>
            <a:lvl8pPr marL="5079995" indent="0">
              <a:buNone/>
              <a:defRPr sz="2200"/>
            </a:lvl8pPr>
            <a:lvl9pPr marL="5805708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366ED-46BE-44AF-8DAA-BEED807F8B1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04864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8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79" y="1500718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0378C6-CDE4-4F4D-894B-F9D9A295943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187272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0" y="2046817"/>
            <a:ext cx="7182556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7" indent="0">
              <a:buNone/>
              <a:defRPr sz="2900" b="1"/>
            </a:lvl3pPr>
            <a:lvl4pPr marL="2177141" indent="0">
              <a:buNone/>
              <a:defRPr sz="2500" b="1"/>
            </a:lvl4pPr>
            <a:lvl5pPr marL="2902854" indent="0">
              <a:buNone/>
              <a:defRPr sz="2500" b="1"/>
            </a:lvl5pPr>
            <a:lvl6pPr marL="3628568" indent="0">
              <a:buNone/>
              <a:defRPr sz="2500" b="1"/>
            </a:lvl6pPr>
            <a:lvl7pPr marL="4354281" indent="0">
              <a:buNone/>
              <a:defRPr sz="2500" b="1"/>
            </a:lvl7pPr>
            <a:lvl8pPr marL="5079995" indent="0">
              <a:buNone/>
              <a:defRPr sz="2500" b="1"/>
            </a:lvl8pPr>
            <a:lvl9pPr marL="5805708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0" y="2899833"/>
            <a:ext cx="7182556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3" y="2046817"/>
            <a:ext cx="7185378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7" indent="0">
              <a:buNone/>
              <a:defRPr sz="2900" b="1"/>
            </a:lvl3pPr>
            <a:lvl4pPr marL="2177141" indent="0">
              <a:buNone/>
              <a:defRPr sz="2500" b="1"/>
            </a:lvl4pPr>
            <a:lvl5pPr marL="2902854" indent="0">
              <a:buNone/>
              <a:defRPr sz="2500" b="1"/>
            </a:lvl5pPr>
            <a:lvl6pPr marL="3628568" indent="0">
              <a:buNone/>
              <a:defRPr sz="2500" b="1"/>
            </a:lvl6pPr>
            <a:lvl7pPr marL="4354281" indent="0">
              <a:buNone/>
              <a:defRPr sz="2500" b="1"/>
            </a:lvl7pPr>
            <a:lvl8pPr marL="5079995" indent="0">
              <a:buNone/>
              <a:defRPr sz="2500" b="1"/>
            </a:lvl8pPr>
            <a:lvl9pPr marL="5805708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3" y="2899833"/>
            <a:ext cx="7185378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49EE3-C218-44A7-917A-AF40341EEAAA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33042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54901A-ACA7-4B99-92F2-A75B0361EE09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31892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872E94-A811-438F-B3C8-A6276EAD393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8814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4" y="364067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67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7" indent="0">
              <a:buNone/>
              <a:defRPr sz="1600"/>
            </a:lvl3pPr>
            <a:lvl4pPr marL="2177141" indent="0">
              <a:buNone/>
              <a:defRPr sz="1400"/>
            </a:lvl4pPr>
            <a:lvl5pPr marL="2902854" indent="0">
              <a:buNone/>
              <a:defRPr sz="1400"/>
            </a:lvl5pPr>
            <a:lvl6pPr marL="3628568" indent="0">
              <a:buNone/>
              <a:defRPr sz="1400"/>
            </a:lvl6pPr>
            <a:lvl7pPr marL="4354281" indent="0">
              <a:buNone/>
              <a:defRPr sz="1400"/>
            </a:lvl7pPr>
            <a:lvl8pPr marL="5079995" indent="0">
              <a:buNone/>
              <a:defRPr sz="1400"/>
            </a:lvl8pPr>
            <a:lvl9pPr marL="580570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E1F85-DEA3-4FB9-977A-141FC5029E50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520637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0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714" indent="0">
              <a:buNone/>
              <a:defRPr sz="4400"/>
            </a:lvl2pPr>
            <a:lvl3pPr marL="1451427" indent="0">
              <a:buNone/>
              <a:defRPr sz="3800"/>
            </a:lvl3pPr>
            <a:lvl4pPr marL="2177141" indent="0">
              <a:buNone/>
              <a:defRPr sz="3200"/>
            </a:lvl4pPr>
            <a:lvl5pPr marL="2902854" indent="0">
              <a:buNone/>
              <a:defRPr sz="3200"/>
            </a:lvl5pPr>
            <a:lvl6pPr marL="3628568" indent="0">
              <a:buNone/>
              <a:defRPr sz="3200"/>
            </a:lvl6pPr>
            <a:lvl7pPr marL="4354281" indent="0">
              <a:buNone/>
              <a:defRPr sz="3200"/>
            </a:lvl7pPr>
            <a:lvl8pPr marL="5079995" indent="0">
              <a:buNone/>
              <a:defRPr sz="3200"/>
            </a:lvl8pPr>
            <a:lvl9pPr marL="5805708" indent="0">
              <a:buNone/>
              <a:defRPr sz="32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1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7" indent="0">
              <a:buNone/>
              <a:defRPr sz="1600"/>
            </a:lvl3pPr>
            <a:lvl4pPr marL="2177141" indent="0">
              <a:buNone/>
              <a:defRPr sz="1400"/>
            </a:lvl4pPr>
            <a:lvl5pPr marL="2902854" indent="0">
              <a:buNone/>
              <a:defRPr sz="1400"/>
            </a:lvl5pPr>
            <a:lvl6pPr marL="3628568" indent="0">
              <a:buNone/>
              <a:defRPr sz="1400"/>
            </a:lvl6pPr>
            <a:lvl7pPr marL="4354281" indent="0">
              <a:buNone/>
              <a:defRPr sz="1400"/>
            </a:lvl7pPr>
            <a:lvl8pPr marL="5079995" indent="0">
              <a:buNone/>
              <a:defRPr sz="1400"/>
            </a:lvl8pPr>
            <a:lvl9pPr marL="580570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31FB7B-489A-49F3-B874-6A25F817600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756757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3133E-FF22-42B5-AAA4-71E2F46C4FDD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48922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3" y="0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8" y="0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248FD-943E-4E8A-88C9-D3A644DC48CC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16710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3188" y="437169"/>
            <a:ext cx="2221907" cy="196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89381" y="2908304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89379" y="4379386"/>
            <a:ext cx="6654800" cy="865716"/>
          </a:xfrm>
          <a:ln/>
        </p:spPr>
        <p:txBody>
          <a:bodyPr anchor="ctr"/>
          <a:lstStyle>
            <a:lvl1pPr marL="0" indent="0">
              <a:buFontTx/>
              <a:buNone/>
              <a:defRPr sz="1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7629671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563938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7B8848-BAB9-473E-96A4-9FCDF0D2F1E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7855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70"/>
            <a:ext cx="13817600" cy="1816100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0"/>
            <a:ext cx="13817600" cy="2000249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70" indent="0">
              <a:buNone/>
              <a:defRPr sz="2400"/>
            </a:lvl2pPr>
            <a:lvl3pPr marL="1219140" indent="0">
              <a:buNone/>
              <a:defRPr sz="2100"/>
            </a:lvl3pPr>
            <a:lvl4pPr marL="1828709" indent="0">
              <a:buNone/>
              <a:defRPr sz="1900"/>
            </a:lvl4pPr>
            <a:lvl5pPr marL="2438278" indent="0">
              <a:buNone/>
              <a:defRPr sz="1900"/>
            </a:lvl5pPr>
            <a:lvl6pPr marL="3047848" indent="0">
              <a:buNone/>
              <a:defRPr sz="1900"/>
            </a:lvl6pPr>
            <a:lvl7pPr marL="3657418" indent="0">
              <a:buNone/>
              <a:defRPr sz="1900"/>
            </a:lvl7pPr>
            <a:lvl8pPr marL="4266987" indent="0">
              <a:buNone/>
              <a:defRPr sz="1900"/>
            </a:lvl8pPr>
            <a:lvl9pPr marL="4876557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F88A86-6001-4B1B-8D6F-352B7BC5A4A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728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9"/>
            <a:ext cx="7351888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1" y="1500719"/>
            <a:ext cx="7354711" cy="6864349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D606A0-556A-4DD1-8AB6-68BC6184B7E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5504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2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700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00" b="1"/>
            </a:lvl4pPr>
            <a:lvl5pPr marL="2438278" indent="0">
              <a:buNone/>
              <a:defRPr sz="2100" b="1"/>
            </a:lvl5pPr>
            <a:lvl6pPr marL="3047848" indent="0">
              <a:buNone/>
              <a:defRPr sz="2100" b="1"/>
            </a:lvl6pPr>
            <a:lvl7pPr marL="3657418" indent="0">
              <a:buNone/>
              <a:defRPr sz="2100" b="1"/>
            </a:lvl7pPr>
            <a:lvl8pPr marL="4266987" indent="0">
              <a:buNone/>
              <a:defRPr sz="2100" b="1"/>
            </a:lvl8pPr>
            <a:lvl9pPr marL="487655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2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6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700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00" b="1"/>
            </a:lvl4pPr>
            <a:lvl5pPr marL="2438278" indent="0">
              <a:buNone/>
              <a:defRPr sz="2100" b="1"/>
            </a:lvl5pPr>
            <a:lvl6pPr marL="3047848" indent="0">
              <a:buNone/>
              <a:defRPr sz="2100" b="1"/>
            </a:lvl6pPr>
            <a:lvl7pPr marL="3657418" indent="0">
              <a:buNone/>
              <a:defRPr sz="2100" b="1"/>
            </a:lvl7pPr>
            <a:lvl8pPr marL="4266987" indent="0">
              <a:buNone/>
              <a:defRPr sz="2100" b="1"/>
            </a:lvl8pPr>
            <a:lvl9pPr marL="487655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6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E8063C-F3B2-4B09-AA08-CE6A819890D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374421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29991B-5CC3-424B-AD53-DED8471F305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106197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312639-E3F0-4A87-B39B-5A0BCFDE88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41134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1" y="364067"/>
            <a:ext cx="5348112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6" y="364070"/>
            <a:ext cx="9087556" cy="780415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1" y="1913470"/>
            <a:ext cx="5348112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70" indent="0">
              <a:buNone/>
              <a:defRPr sz="1600"/>
            </a:lvl2pPr>
            <a:lvl3pPr marL="1219140" indent="0">
              <a:buNone/>
              <a:defRPr sz="1300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47E86B-6971-4D6A-82E0-CB2E62E792A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042475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89" y="6400801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89" y="817033"/>
            <a:ext cx="9753600" cy="5486400"/>
          </a:xfrm>
        </p:spPr>
        <p:txBody>
          <a:bodyPr/>
          <a:lstStyle>
            <a:lvl1pPr marL="0" indent="0">
              <a:buNone/>
              <a:defRPr sz="4300"/>
            </a:lvl1pPr>
            <a:lvl2pPr marL="609570" indent="0">
              <a:buNone/>
              <a:defRPr sz="3700"/>
            </a:lvl2pPr>
            <a:lvl3pPr marL="1219140" indent="0">
              <a:buNone/>
              <a:defRPr sz="3200"/>
            </a:lvl3pPr>
            <a:lvl4pPr marL="1828709" indent="0">
              <a:buNone/>
              <a:defRPr sz="2700"/>
            </a:lvl4pPr>
            <a:lvl5pPr marL="2438278" indent="0">
              <a:buNone/>
              <a:defRPr sz="2700"/>
            </a:lvl5pPr>
            <a:lvl6pPr marL="3047848" indent="0">
              <a:buNone/>
              <a:defRPr sz="2700"/>
            </a:lvl6pPr>
            <a:lvl7pPr marL="3657418" indent="0">
              <a:buNone/>
              <a:defRPr sz="2700"/>
            </a:lvl7pPr>
            <a:lvl8pPr marL="4266987" indent="0">
              <a:buNone/>
              <a:defRPr sz="2700"/>
            </a:lvl8pPr>
            <a:lvl9pPr marL="4876557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89" y="7156452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70" indent="0">
              <a:buNone/>
              <a:defRPr sz="1600"/>
            </a:lvl2pPr>
            <a:lvl3pPr marL="1219140" indent="0">
              <a:buNone/>
              <a:defRPr sz="1300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C805AD-BE11-4FDA-AEBF-814C57474C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915879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D9D76-FB84-4E64-9C54-C7DDF97D180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55722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4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AF7F28-BBE1-428B-A439-BF396B4795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76203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4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8" y="364076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40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4" y="1913475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4" indent="0">
              <a:buNone/>
              <a:defRPr sz="1400"/>
            </a:lvl5pPr>
            <a:lvl6pPr marL="3628082" indent="0">
              <a:buNone/>
              <a:defRPr sz="1400"/>
            </a:lvl6pPr>
            <a:lvl7pPr marL="4353697" indent="0">
              <a:buNone/>
              <a:defRPr sz="1400"/>
            </a:lvl7pPr>
            <a:lvl8pPr marL="5079316" indent="0">
              <a:buNone/>
              <a:defRPr sz="1400"/>
            </a:lvl8pPr>
            <a:lvl9pPr marL="5804931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856649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9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9" y="1500719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fld id="{01A583C6-E099-4C64-832C-EDE2DB1CD7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2717106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00" y="2840569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79200" cy="2336800"/>
          </a:xfrm>
        </p:spPr>
        <p:txBody>
          <a:bodyPr/>
          <a:lstStyle>
            <a:lvl1pPr marL="0" indent="0" algn="ctr">
              <a:buNone/>
              <a:defRPr/>
            </a:lvl1pPr>
            <a:lvl2pPr marL="725714" indent="0" algn="ctr">
              <a:buNone/>
              <a:defRPr/>
            </a:lvl2pPr>
            <a:lvl3pPr marL="1451426" indent="0" algn="ctr">
              <a:buNone/>
              <a:defRPr/>
            </a:lvl3pPr>
            <a:lvl4pPr marL="2177139" indent="0" algn="ctr">
              <a:buNone/>
              <a:defRPr/>
            </a:lvl4pPr>
            <a:lvl5pPr marL="2902851" indent="0" algn="ctr">
              <a:buNone/>
              <a:defRPr/>
            </a:lvl5pPr>
            <a:lvl6pPr marL="3628565" indent="0" algn="ctr">
              <a:buNone/>
              <a:defRPr/>
            </a:lvl6pPr>
            <a:lvl7pPr marL="4354277" indent="0" algn="ctr">
              <a:buNone/>
              <a:defRPr/>
            </a:lvl7pPr>
            <a:lvl8pPr marL="5079990" indent="0" algn="ctr">
              <a:buNone/>
              <a:defRPr/>
            </a:lvl8pPr>
            <a:lvl9pPr marL="580570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E9CA10-F2B8-43AF-A6EA-BB22B46D330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631531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ECB817-0CEE-4E91-A127-A2C10386CF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946848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2" y="5875867"/>
            <a:ext cx="13817600" cy="1816100"/>
          </a:xfrm>
        </p:spPr>
        <p:txBody>
          <a:bodyPr anchor="t"/>
          <a:lstStyle>
            <a:lvl1pPr algn="l">
              <a:defRPr sz="6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2" y="3875620"/>
            <a:ext cx="13817600" cy="2000249"/>
          </a:xfrm>
        </p:spPr>
        <p:txBody>
          <a:bodyPr anchor="b"/>
          <a:lstStyle>
            <a:lvl1pPr marL="0" indent="0">
              <a:buNone/>
              <a:defRPr sz="3200"/>
            </a:lvl1pPr>
            <a:lvl2pPr marL="725714" indent="0">
              <a:buNone/>
              <a:defRPr sz="2900"/>
            </a:lvl2pPr>
            <a:lvl3pPr marL="1451426" indent="0">
              <a:buNone/>
              <a:defRPr sz="2500"/>
            </a:lvl3pPr>
            <a:lvl4pPr marL="2177139" indent="0">
              <a:buNone/>
              <a:defRPr sz="2200"/>
            </a:lvl4pPr>
            <a:lvl5pPr marL="2902851" indent="0">
              <a:buNone/>
              <a:defRPr sz="2200"/>
            </a:lvl5pPr>
            <a:lvl6pPr marL="3628565" indent="0">
              <a:buNone/>
              <a:defRPr sz="2200"/>
            </a:lvl6pPr>
            <a:lvl7pPr marL="4354277" indent="0">
              <a:buNone/>
              <a:defRPr sz="2200"/>
            </a:lvl7pPr>
            <a:lvl8pPr marL="5079990" indent="0">
              <a:buNone/>
              <a:defRPr sz="2200"/>
            </a:lvl8pPr>
            <a:lvl9pPr marL="5805702" indent="0">
              <a:buNone/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2F488B-D30A-448D-9E90-6F63BA85F56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382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7" y="1500719"/>
            <a:ext cx="7351888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455381" y="1500719"/>
            <a:ext cx="7354711" cy="6864349"/>
          </a:xfrm>
        </p:spPr>
        <p:txBody>
          <a:bodyPr/>
          <a:lstStyle>
            <a:lvl1pPr>
              <a:defRPr sz="4400"/>
            </a:lvl1pPr>
            <a:lvl2pPr>
              <a:defRPr sz="3800"/>
            </a:lvl2pPr>
            <a:lvl3pPr>
              <a:defRPr sz="32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19BB74-3F34-4E4C-8F95-FBF5C0AAF8F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353090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0" y="2046817"/>
            <a:ext cx="7182556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6" indent="0">
              <a:buNone/>
              <a:defRPr sz="2900" b="1"/>
            </a:lvl3pPr>
            <a:lvl4pPr marL="2177139" indent="0">
              <a:buNone/>
              <a:defRPr sz="2500" b="1"/>
            </a:lvl4pPr>
            <a:lvl5pPr marL="2902851" indent="0">
              <a:buNone/>
              <a:defRPr sz="2500" b="1"/>
            </a:lvl5pPr>
            <a:lvl6pPr marL="3628565" indent="0">
              <a:buNone/>
              <a:defRPr sz="2500" b="1"/>
            </a:lvl6pPr>
            <a:lvl7pPr marL="4354277" indent="0">
              <a:buNone/>
              <a:defRPr sz="2500" b="1"/>
            </a:lvl7pPr>
            <a:lvl8pPr marL="5079990" indent="0">
              <a:buNone/>
              <a:defRPr sz="2500" b="1"/>
            </a:lvl8pPr>
            <a:lvl9pPr marL="5805702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0" y="2899833"/>
            <a:ext cx="7182556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5" y="2046817"/>
            <a:ext cx="7185378" cy="853016"/>
          </a:xfrm>
        </p:spPr>
        <p:txBody>
          <a:bodyPr anchor="b"/>
          <a:lstStyle>
            <a:lvl1pPr marL="0" indent="0">
              <a:buNone/>
              <a:defRPr sz="3800" b="1"/>
            </a:lvl1pPr>
            <a:lvl2pPr marL="725714" indent="0">
              <a:buNone/>
              <a:defRPr sz="3200" b="1"/>
            </a:lvl2pPr>
            <a:lvl3pPr marL="1451426" indent="0">
              <a:buNone/>
              <a:defRPr sz="2900" b="1"/>
            </a:lvl3pPr>
            <a:lvl4pPr marL="2177139" indent="0">
              <a:buNone/>
              <a:defRPr sz="2500" b="1"/>
            </a:lvl4pPr>
            <a:lvl5pPr marL="2902851" indent="0">
              <a:buNone/>
              <a:defRPr sz="2500" b="1"/>
            </a:lvl5pPr>
            <a:lvl6pPr marL="3628565" indent="0">
              <a:buNone/>
              <a:defRPr sz="2500" b="1"/>
            </a:lvl6pPr>
            <a:lvl7pPr marL="4354277" indent="0">
              <a:buNone/>
              <a:defRPr sz="2500" b="1"/>
            </a:lvl7pPr>
            <a:lvl8pPr marL="5079990" indent="0">
              <a:buNone/>
              <a:defRPr sz="2500" b="1"/>
            </a:lvl8pPr>
            <a:lvl9pPr marL="5805702" indent="0">
              <a:buNone/>
              <a:defRPr sz="2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5" y="2899833"/>
            <a:ext cx="7185378" cy="5268384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9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9CB4A-8D5D-4256-B747-FD3916B72EE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056658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BF2D64-0F30-4548-B09B-CB79569B9F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348560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00ADA-4C6C-4681-BD83-456E897BCA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758440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3" y="364067"/>
            <a:ext cx="5348112" cy="1549400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4" y="364069"/>
            <a:ext cx="9087556" cy="7804151"/>
          </a:xfrm>
        </p:spPr>
        <p:txBody>
          <a:bodyPr/>
          <a:lstStyle>
            <a:lvl1pPr>
              <a:defRPr sz="51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3" y="1913468"/>
            <a:ext cx="5348112" cy="6254751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6" indent="0">
              <a:buNone/>
              <a:defRPr sz="1600"/>
            </a:lvl3pPr>
            <a:lvl4pPr marL="2177139" indent="0">
              <a:buNone/>
              <a:defRPr sz="1400"/>
            </a:lvl4pPr>
            <a:lvl5pPr marL="2902851" indent="0">
              <a:buNone/>
              <a:defRPr sz="1400"/>
            </a:lvl5pPr>
            <a:lvl6pPr marL="3628565" indent="0">
              <a:buNone/>
              <a:defRPr sz="1400"/>
            </a:lvl6pPr>
            <a:lvl7pPr marL="4354277" indent="0">
              <a:buNone/>
              <a:defRPr sz="1400"/>
            </a:lvl7pPr>
            <a:lvl8pPr marL="5079990" indent="0">
              <a:buNone/>
              <a:defRPr sz="1400"/>
            </a:lvl8pPr>
            <a:lvl9pPr marL="580570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2BEF5-D853-4FD3-B520-0723BD979AD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050556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1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714" indent="0">
              <a:buNone/>
              <a:defRPr sz="4400"/>
            </a:lvl2pPr>
            <a:lvl3pPr marL="1451426" indent="0">
              <a:buNone/>
              <a:defRPr sz="3800"/>
            </a:lvl3pPr>
            <a:lvl4pPr marL="2177139" indent="0">
              <a:buNone/>
              <a:defRPr sz="3200"/>
            </a:lvl4pPr>
            <a:lvl5pPr marL="2902851" indent="0">
              <a:buNone/>
              <a:defRPr sz="3200"/>
            </a:lvl5pPr>
            <a:lvl6pPr marL="3628565" indent="0">
              <a:buNone/>
              <a:defRPr sz="3200"/>
            </a:lvl6pPr>
            <a:lvl7pPr marL="4354277" indent="0">
              <a:buNone/>
              <a:defRPr sz="3200"/>
            </a:lvl7pPr>
            <a:lvl8pPr marL="5079990" indent="0">
              <a:buNone/>
              <a:defRPr sz="3200"/>
            </a:lvl8pPr>
            <a:lvl9pPr marL="5805702" indent="0">
              <a:buNone/>
              <a:defRPr sz="32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2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714" indent="0">
              <a:buNone/>
              <a:defRPr sz="1900"/>
            </a:lvl2pPr>
            <a:lvl3pPr marL="1451426" indent="0">
              <a:buNone/>
              <a:defRPr sz="1600"/>
            </a:lvl3pPr>
            <a:lvl4pPr marL="2177139" indent="0">
              <a:buNone/>
              <a:defRPr sz="1400"/>
            </a:lvl4pPr>
            <a:lvl5pPr marL="2902851" indent="0">
              <a:buNone/>
              <a:defRPr sz="1400"/>
            </a:lvl5pPr>
            <a:lvl6pPr marL="3628565" indent="0">
              <a:buNone/>
              <a:defRPr sz="1400"/>
            </a:lvl6pPr>
            <a:lvl7pPr marL="4354277" indent="0">
              <a:buNone/>
              <a:defRPr sz="1400"/>
            </a:lvl7pPr>
            <a:lvl8pPr marL="5079990" indent="0">
              <a:buNone/>
              <a:defRPr sz="1400"/>
            </a:lvl8pPr>
            <a:lvl9pPr marL="580570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500220-629A-40C5-B3A4-93B5DED3565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75167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2" y="6400801"/>
            <a:ext cx="9753600" cy="75565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2" y="817033"/>
            <a:ext cx="9753600" cy="5486400"/>
          </a:xfrm>
        </p:spPr>
        <p:txBody>
          <a:bodyPr/>
          <a:lstStyle>
            <a:lvl1pPr marL="0" indent="0">
              <a:buNone/>
              <a:defRPr sz="5100"/>
            </a:lvl1pPr>
            <a:lvl2pPr marL="725617" indent="0">
              <a:buNone/>
              <a:defRPr sz="4400"/>
            </a:lvl2pPr>
            <a:lvl3pPr marL="1451233" indent="0">
              <a:buNone/>
              <a:defRPr sz="4000"/>
            </a:lvl3pPr>
            <a:lvl4pPr marL="2176850" indent="0">
              <a:buNone/>
              <a:defRPr sz="3200"/>
            </a:lvl4pPr>
            <a:lvl5pPr marL="2902464" indent="0">
              <a:buNone/>
              <a:defRPr sz="3200"/>
            </a:lvl5pPr>
            <a:lvl6pPr marL="3628082" indent="0">
              <a:buNone/>
              <a:defRPr sz="3200"/>
            </a:lvl6pPr>
            <a:lvl7pPr marL="4353697" indent="0">
              <a:buNone/>
              <a:defRPr sz="3200"/>
            </a:lvl7pPr>
            <a:lvl8pPr marL="5079316" indent="0">
              <a:buNone/>
              <a:defRPr sz="3200"/>
            </a:lvl8pPr>
            <a:lvl9pPr marL="5804931" indent="0">
              <a:buNone/>
              <a:defRPr sz="32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2" y="7156452"/>
            <a:ext cx="9753600" cy="1073149"/>
          </a:xfrm>
        </p:spPr>
        <p:txBody>
          <a:bodyPr/>
          <a:lstStyle>
            <a:lvl1pPr marL="0" indent="0">
              <a:buNone/>
              <a:defRPr sz="2200"/>
            </a:lvl1pPr>
            <a:lvl2pPr marL="725617" indent="0">
              <a:buNone/>
              <a:defRPr sz="1900"/>
            </a:lvl2pPr>
            <a:lvl3pPr marL="1451233" indent="0">
              <a:buNone/>
              <a:defRPr sz="1600"/>
            </a:lvl3pPr>
            <a:lvl4pPr marL="2176850" indent="0">
              <a:buNone/>
              <a:defRPr sz="1400"/>
            </a:lvl4pPr>
            <a:lvl5pPr marL="2902464" indent="0">
              <a:buNone/>
              <a:defRPr sz="1400"/>
            </a:lvl5pPr>
            <a:lvl6pPr marL="3628082" indent="0">
              <a:buNone/>
              <a:defRPr sz="1400"/>
            </a:lvl6pPr>
            <a:lvl7pPr marL="4353697" indent="0">
              <a:buNone/>
              <a:defRPr sz="1400"/>
            </a:lvl7pPr>
            <a:lvl8pPr marL="5079316" indent="0">
              <a:buNone/>
              <a:defRPr sz="1400"/>
            </a:lvl8pPr>
            <a:lvl9pPr marL="5804931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04523410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5A8E4A-22A8-420C-A3B8-1432848D257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807790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067825" y="1"/>
            <a:ext cx="3742267" cy="83650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2559" y="1"/>
            <a:ext cx="10964332" cy="83650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DE808-A18C-45BC-8F71-04D3A188144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590029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7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32557" y="1500719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660621-1153-4A09-9F4A-9E122F981D6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13080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7" y="2"/>
            <a:ext cx="13569244" cy="1282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32557" y="1500719"/>
            <a:ext cx="14977532" cy="6864349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26B81-5343-4948-999C-5501464627C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333378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15446024" y="9101667"/>
            <a:ext cx="310444" cy="17780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400">
                <a:solidFill>
                  <a:srgbClr val="414142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US" altLang="ru-RU" sz="140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912" y="154519"/>
            <a:ext cx="1645355" cy="960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0277" y="2011200"/>
            <a:ext cx="14757415" cy="61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31958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56" y="2"/>
            <a:ext cx="13941778" cy="13081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32559" y="2076451"/>
            <a:ext cx="6855177" cy="603673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7958669" y="2076452"/>
            <a:ext cx="6858000" cy="29167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7958669" y="5196419"/>
            <a:ext cx="6858000" cy="29167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72ECB3DC-24F2-4543-BF74-85A4523093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1707690"/>
      </p:ext>
    </p:extLst>
  </p:cSld>
  <p:clrMapOvr>
    <a:masterClrMapping/>
  </p:clrMapOvr>
  <p:transition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418" y="5783066"/>
            <a:ext cx="12121582" cy="336093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620" y="458149"/>
            <a:ext cx="1956142" cy="1877572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15232" y="3196312"/>
            <a:ext cx="13825536" cy="1375833"/>
          </a:xfrm>
          <a:ln/>
        </p:spPr>
        <p:txBody>
          <a:bodyPr/>
          <a:lstStyle>
            <a:lvl1pPr>
              <a:lnSpc>
                <a:spcPct val="130000"/>
              </a:lnSpc>
              <a:defRPr sz="38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3775516" y="2053450"/>
            <a:ext cx="12480484" cy="36162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0" scaled="1"/>
            <a:tileRect/>
          </a:gradFill>
        </p:spPr>
        <p:txBody>
          <a:bodyPr wrap="square" lIns="114286" tIns="57143" rIns="171428" bIns="57143" anchor="ctr" anchorCtr="0">
            <a:sp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kern="0" cap="all" spc="79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State Atomic Energy Corporation ROSATOM</a:t>
            </a:r>
            <a:endParaRPr lang="ru-RU" sz="1600" kern="0" cap="all" spc="79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5468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pos="431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_Титульный слайд_Раздел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418" y="5783066"/>
            <a:ext cx="12121582" cy="3360935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344171" y="3196312"/>
            <a:ext cx="14720711" cy="1375833"/>
          </a:xfrm>
          <a:ln/>
        </p:spPr>
        <p:txBody>
          <a:bodyPr/>
          <a:lstStyle>
            <a:lvl1pPr>
              <a:lnSpc>
                <a:spcPct val="130000"/>
              </a:lnSpc>
              <a:defRPr sz="3800" b="0" cap="all" baseline="0">
                <a:solidFill>
                  <a:schemeClr val="bg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620" y="458149"/>
            <a:ext cx="1956142" cy="1877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010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_Заголовок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702734" y="8553649"/>
            <a:ext cx="14210020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i="1" dirty="0">
                <a:solidFill>
                  <a:srgbClr val="4D4D4D"/>
                </a:solidFill>
                <a:latin typeface="Arial"/>
              </a:rPr>
              <a:t>Содержание данной презентации предназначено только для целей обсуждения, не является предложением услуг, не налагает и не ведет </a:t>
            </a:r>
            <a:br>
              <a:rPr lang="ru-RU" sz="1400" i="1" dirty="0">
                <a:solidFill>
                  <a:srgbClr val="4D4D4D"/>
                </a:solidFill>
                <a:latin typeface="Arial"/>
              </a:rPr>
            </a:br>
            <a:r>
              <a:rPr lang="ru-RU" sz="1400" i="1" dirty="0">
                <a:solidFill>
                  <a:srgbClr val="4D4D4D"/>
                </a:solidFill>
                <a:latin typeface="Arial"/>
              </a:rPr>
              <a:t>к каким-либо обязательствам в отношении Росатома и его организаций</a:t>
            </a:r>
            <a:r>
              <a:rPr lang="en-US" sz="1400" i="1" dirty="0">
                <a:solidFill>
                  <a:srgbClr val="4D4D4D"/>
                </a:solidFill>
                <a:latin typeface="Arial"/>
              </a:rPr>
              <a:t>.</a:t>
            </a:r>
            <a:r>
              <a:rPr lang="ru-RU" sz="1400" i="1" dirty="0">
                <a:solidFill>
                  <a:srgbClr val="4D4D4D"/>
                </a:solidFill>
                <a:latin typeface="Arial"/>
              </a:rPr>
              <a:t> Росатом однозначно не несет ответственности за любые ошибки, неточности или упущения в отношении информации, содержащейся в данной презентации.</a:t>
            </a:r>
            <a:endParaRPr lang="en-US" sz="1400" dirty="0">
              <a:solidFill>
                <a:srgbClr val="4D4D4D"/>
              </a:solidFill>
              <a:latin typeface="Arial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2735" y="8515548"/>
            <a:ext cx="14850533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8"/>
          <p:cNvCxnSpPr/>
          <p:nvPr userDrawn="1"/>
        </p:nvCxnSpPr>
        <p:spPr>
          <a:xfrm>
            <a:off x="702734" y="1307637"/>
            <a:ext cx="14848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54471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_Заголовок+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fontAlgn="base">
              <a:spcBef>
                <a:spcPct val="0"/>
              </a:spcBef>
              <a:spcAft>
                <a:spcPct val="0"/>
              </a:spcAft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02735" y="8540948"/>
            <a:ext cx="14850533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 userDrawn="1"/>
        </p:nvSpPr>
        <p:spPr>
          <a:xfrm>
            <a:off x="703175" y="8566349"/>
            <a:ext cx="14209579" cy="581119"/>
          </a:xfrm>
          <a:prstGeom prst="rect">
            <a:avLst/>
          </a:prstGeom>
        </p:spPr>
        <p:txBody>
          <a:bodyPr wrap="square" lIns="0" tIns="0" rIns="145143" bIns="0" anchor="ctr" anchorCtr="0">
            <a:noAutofit/>
          </a:bodyPr>
          <a:lstStyle/>
          <a:p>
            <a:pPr defTabSz="140410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4D4D4D"/>
                </a:solidFill>
                <a:latin typeface="Arial"/>
              </a:rPr>
              <a:t>The content of this presentation is for discussion purposes only. It does not constitute an offer of services, nor does it impose, or lead to, any obligations on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or its affiliates. </a:t>
            </a:r>
            <a:r>
              <a:rPr lang="en-US" sz="1600" i="1" dirty="0" err="1">
                <a:solidFill>
                  <a:srgbClr val="4D4D4D"/>
                </a:solidFill>
                <a:latin typeface="Arial"/>
              </a:rPr>
              <a:t>Rosatom</a:t>
            </a:r>
            <a:r>
              <a:rPr lang="en-US" sz="1600" i="1" dirty="0">
                <a:solidFill>
                  <a:srgbClr val="4D4D4D"/>
                </a:solidFill>
                <a:latin typeface="Arial"/>
              </a:rPr>
              <a:t> expressly disclaims responsibility for any errors, inaccuracies or omissions in respect of the information contained herein. </a:t>
            </a:r>
            <a:r>
              <a:rPr lang="en-US" sz="1600" dirty="0">
                <a:solidFill>
                  <a:srgbClr val="4D4D4D"/>
                </a:solidFill>
                <a:latin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7972086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1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2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image" Target="../media/image2.jpe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16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4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image" Target="../media/image10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53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18.png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4" Type="http://schemas.openxmlformats.org/officeDocument/2006/relationships/image" Target="../media/image18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18.png"/><Relationship Id="rId5" Type="http://schemas.openxmlformats.org/officeDocument/2006/relationships/theme" Target="../theme/theme19.xml"/><Relationship Id="rId4" Type="http://schemas.openxmlformats.org/officeDocument/2006/relationships/slideLayout" Target="../slideLayouts/slideLayout16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oleObject" Target="../embeddings/oleObject3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4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65.xml"/><Relationship Id="rId9" Type="http://schemas.openxmlformats.org/officeDocument/2006/relationships/image" Target="../media/image21.emf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166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image" Target="../media/image25.jpeg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168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image" Target="../media/image26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9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theme" Target="../theme/theme24.xml"/><Relationship Id="rId10" Type="http://schemas.openxmlformats.org/officeDocument/2006/relationships/slideLayout" Target="../slideLayouts/slideLayout187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5.xml"/><Relationship Id="rId7" Type="http://schemas.openxmlformats.org/officeDocument/2006/relationships/image" Target="../media/image21.emf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oleObject" Target="../embeddings/oleObject6.bin"/><Relationship Id="rId5" Type="http://schemas.openxmlformats.org/officeDocument/2006/relationships/tags" Target="../tags/tag10.xml"/><Relationship Id="rId4" Type="http://schemas.openxmlformats.org/officeDocument/2006/relationships/vmlDrawing" Target="../drawings/vmlDrawing6.v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82.xml"/><Relationship Id="rId16" Type="http://schemas.openxmlformats.org/officeDocument/2006/relationships/theme" Target="../theme/theme7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00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2886" y="2167"/>
          <a:ext cx="2878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2" name="think-cell Slide" r:id="rId22" imgW="429" imgH="429" progId="TCLayout.ActiveDocument.1">
                  <p:embed/>
                </p:oleObj>
              </mc:Choice>
              <mc:Fallback>
                <p:oleObj name="think-cell Slide" r:id="rId22" imgW="429" imgH="42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86" y="2167"/>
                        <a:ext cx="2878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3"/>
            <a:ext cx="13569244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4232473" y="141820"/>
            <a:ext cx="1577621" cy="104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"/>
          <p:cNvSpPr txBox="1">
            <a:spLocks/>
          </p:cNvSpPr>
          <p:nvPr/>
        </p:nvSpPr>
        <p:spPr>
          <a:xfrm>
            <a:off x="15501521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800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25617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51233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7685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90246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7222" indent="-28722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5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1930" indent="-282185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6"/>
        </a:buBlip>
        <a:defRPr sz="2200">
          <a:solidFill>
            <a:schemeClr val="tx1"/>
          </a:solidFill>
          <a:latin typeface="+mn-lt"/>
          <a:cs typeface="+mn-cs"/>
        </a:defRPr>
      </a:lvl2pPr>
      <a:lvl3pPr marL="1844276" indent="-425795" algn="l" rtl="0" eaLnBrk="1" fontAlgn="base" hangingPunct="1">
        <a:spcBef>
          <a:spcPct val="0"/>
        </a:spcBef>
        <a:spcAft>
          <a:spcPct val="30000"/>
        </a:spcAft>
        <a:buBlip>
          <a:blip r:embed="rId26"/>
        </a:buBlip>
        <a:defRPr sz="3500">
          <a:solidFill>
            <a:schemeClr val="tx1"/>
          </a:solidFill>
          <a:latin typeface="+mn-lt"/>
          <a:cs typeface="+mn-cs"/>
        </a:defRPr>
      </a:lvl3pPr>
      <a:lvl4pPr marL="2642958" indent="-362809" algn="l" rtl="0" eaLnBrk="1" fontAlgn="base" hangingPunct="1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29047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4016086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741703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46732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192935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61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233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685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464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082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369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316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4931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7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75" b="1" i="0">
                <a:solidFill>
                  <a:schemeClr val="hlink"/>
                </a:solidFill>
              </a:defRPr>
            </a:lvl1pPr>
          </a:lstStyle>
          <a:p>
            <a:pPr defTabSz="914330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9143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3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290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5pPr>
      <a:lvl6pPr marL="45716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6pPr>
      <a:lvl7pPr marL="914330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7pPr>
      <a:lvl8pPr marL="137149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8pPr>
      <a:lvl9pPr marL="1828658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62" indent="-18096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ea typeface="+mn-ea"/>
          <a:cs typeface="+mn-cs"/>
        </a:defRPr>
      </a:lvl1pPr>
      <a:lvl2pPr marL="360336" indent="-17778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25">
          <a:solidFill>
            <a:schemeClr val="tx1"/>
          </a:solidFill>
          <a:latin typeface="+mn-lt"/>
          <a:cs typeface="+mn-cs"/>
        </a:defRPr>
      </a:lvl2pPr>
      <a:lvl3pPr marL="1161960" indent="-268267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175">
          <a:solidFill>
            <a:schemeClr val="tx1"/>
          </a:solidFill>
          <a:latin typeface="+mn-lt"/>
          <a:cs typeface="+mn-cs"/>
        </a:defRPr>
      </a:lvl3pPr>
      <a:lvl4pPr marL="1665158" indent="-228582" algn="l" rtl="0" eaLnBrk="1" fontAlgn="base" hangingPunct="1">
        <a:spcBef>
          <a:spcPct val="20000"/>
        </a:spcBef>
        <a:spcAft>
          <a:spcPct val="0"/>
        </a:spcAft>
        <a:buChar char="–"/>
        <a:defRPr sz="2025">
          <a:solidFill>
            <a:schemeClr val="tx1"/>
          </a:solidFill>
          <a:latin typeface="+mn-lt"/>
          <a:cs typeface="+mn-cs"/>
        </a:defRPr>
      </a:lvl4pPr>
      <a:lvl5pPr marL="2073116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5pPr>
      <a:lvl6pPr marL="2530281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6pPr>
      <a:lvl7pPr marL="2987445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7pPr>
      <a:lvl8pPr marL="3444609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8pPr>
      <a:lvl9pPr marL="3901774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8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4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3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4" y="8597902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33" b="1" i="0">
                <a:solidFill>
                  <a:schemeClr val="hlink"/>
                </a:solidFill>
              </a:defRPr>
            </a:lvl1pPr>
          </a:lstStyle>
          <a:p>
            <a:fld id="{CCEA2A6F-C161-4685-A981-1E1E3291A9A5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18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1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8329" y="141818"/>
            <a:ext cx="1310355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6473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94" indent="-24129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3706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867">
          <a:solidFill>
            <a:schemeClr val="tx1"/>
          </a:solidFill>
          <a:latin typeface="+mn-lt"/>
          <a:cs typeface="+mn-cs"/>
        </a:defRPr>
      </a:lvl2pPr>
      <a:lvl3pPr marL="1549361" indent="-35770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933">
          <a:solidFill>
            <a:schemeClr val="tx1"/>
          </a:solidFill>
          <a:latin typeface="+mn-lt"/>
          <a:cs typeface="+mn-cs"/>
        </a:defRPr>
      </a:lvl3pPr>
      <a:lvl4pPr marL="2220328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cs typeface="+mn-cs"/>
        </a:defRPr>
      </a:lvl4pPr>
      <a:lvl5pPr marL="2764298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5pPr>
      <a:lvl6pPr marL="337388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6pPr>
      <a:lvl7pPr marL="398346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7pPr>
      <a:lvl8pPr marL="459305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8pPr>
      <a:lvl9pPr marL="520263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6256000" cy="9152128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55" y="766934"/>
            <a:ext cx="1452203" cy="18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5897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218049" rtl="0" eaLnBrk="1" latinLnBrk="0" hangingPunct="1">
        <a:lnSpc>
          <a:spcPct val="90000"/>
        </a:lnSpc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512" indent="-304512" algn="l" defTabSz="1218049" rtl="0" eaLnBrk="1" latinLnBrk="0" hangingPunct="1">
        <a:lnSpc>
          <a:spcPct val="90000"/>
        </a:lnSpc>
        <a:spcBef>
          <a:spcPts val="1332"/>
        </a:spcBef>
        <a:buFont typeface="Arial" panose="020B0604020202020204" pitchFamily="34" charset="0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37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562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586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611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636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660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685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710" indent="-304512" algn="l" defTabSz="121804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25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49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074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099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23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148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173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198" algn="l" defTabSz="1218049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517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6256000" cy="9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03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50" r:id="rId2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6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37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3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6585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6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37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6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2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19" indent="-35769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66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24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2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0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2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496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7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6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2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7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4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5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58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</p:sldLayoutIdLst>
  <p:hf hdr="0" ftr="0" dt="0"/>
  <p:txStyles>
    <p:titleStyle>
      <a:lvl1pPr algn="l" defTabSz="1624026" rtl="0" eaLnBrk="1" latinLnBrk="0" hangingPunct="1">
        <a:lnSpc>
          <a:spcPct val="90000"/>
        </a:lnSpc>
        <a:spcBef>
          <a:spcPct val="0"/>
        </a:spcBef>
        <a:buNone/>
        <a:defRPr sz="7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06" indent="-406006" algn="l" defTabSz="162402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19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32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04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05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070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083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09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10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13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26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38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051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064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077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089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10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378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326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910" r:id="rId2"/>
    <p:sldLayoutId id="2147483915" r:id="rId3"/>
    <p:sldLayoutId id="2147483916" r:id="rId4"/>
  </p:sldLayoutIdLst>
  <p:hf hdr="0" ftr="0" dt="0"/>
  <p:txStyles>
    <p:titleStyle>
      <a:lvl1pPr algn="l" defTabSz="1624026" rtl="0" eaLnBrk="1" latinLnBrk="0" hangingPunct="1">
        <a:lnSpc>
          <a:spcPct val="90000"/>
        </a:lnSpc>
        <a:spcBef>
          <a:spcPct val="0"/>
        </a:spcBef>
        <a:buNone/>
        <a:defRPr sz="7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06" indent="-406006" algn="l" defTabSz="162402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19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32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04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05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070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083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094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107" indent="-406006" algn="l" defTabSz="162402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13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26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38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051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064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077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089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100" algn="l" defTabSz="162402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2886" y="2166"/>
          <a:ext cx="2878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7" name="think-cell Slide" r:id="rId22" imgW="429" imgH="429" progId="TCLayout.ActiveDocument.1">
                  <p:embed/>
                </p:oleObj>
              </mc:Choice>
              <mc:Fallback>
                <p:oleObj name="think-cell Slide" r:id="rId22" imgW="429" imgH="42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86" y="2166"/>
                        <a:ext cx="2878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4232473" y="141820"/>
            <a:ext cx="1577621" cy="104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"/>
          <p:cNvSpPr txBox="1">
            <a:spLocks/>
          </p:cNvSpPr>
          <p:nvPr/>
        </p:nvSpPr>
        <p:spPr>
          <a:xfrm>
            <a:off x="15501519" y="8755261"/>
            <a:ext cx="378683" cy="20732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451387" eaLnBrk="1" hangingPunct="1">
              <a:defRPr/>
            </a:pPr>
            <a:fld id="{42C328C1-A84F-4A39-A664-DBA00541A8C6}" type="slidenum">
              <a:rPr lang="en-US" sz="1600" smtClean="0">
                <a:solidFill>
                  <a:srgbClr val="414142"/>
                </a:solidFill>
              </a:rPr>
              <a:pPr defTabSz="1451387" eaLnBrk="1" hangingPunct="1">
                <a:defRPr/>
              </a:pPr>
              <a:t>‹#›</a:t>
            </a:fld>
            <a:endParaRPr lang="en-US" sz="16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153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25617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51233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7685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90246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7222" indent="-28722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5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1930" indent="-282185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6"/>
        </a:buBlip>
        <a:defRPr sz="2200">
          <a:solidFill>
            <a:schemeClr val="tx1"/>
          </a:solidFill>
          <a:latin typeface="+mn-lt"/>
          <a:cs typeface="+mn-cs"/>
        </a:defRPr>
      </a:lvl2pPr>
      <a:lvl3pPr marL="1844278" indent="-425795" algn="l" rtl="0" eaLnBrk="1" fontAlgn="base" hangingPunct="1">
        <a:spcBef>
          <a:spcPct val="0"/>
        </a:spcBef>
        <a:spcAft>
          <a:spcPct val="30000"/>
        </a:spcAft>
        <a:buBlip>
          <a:blip r:embed="rId26"/>
        </a:buBlip>
        <a:defRPr sz="3500">
          <a:solidFill>
            <a:schemeClr val="tx1"/>
          </a:solidFill>
          <a:latin typeface="+mn-lt"/>
          <a:cs typeface="+mn-cs"/>
        </a:defRPr>
      </a:lvl3pPr>
      <a:lvl4pPr marL="2642959" indent="-362809" algn="l" rtl="0" eaLnBrk="1" fontAlgn="base" hangingPunct="1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290473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401609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741706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467323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192940" indent="-362809" algn="l" rtl="0" eaLnBrk="1" fontAlgn="base" hangingPunct="1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61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233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685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469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087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370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320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4935" algn="l" defTabSz="1451233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56" y="731568"/>
            <a:ext cx="1984000" cy="190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4811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8" name="Object 44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1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068" name="Object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4850605" y="2640371"/>
            <a:ext cx="2556790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21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4994074" y="5599471"/>
            <a:ext cx="2269852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7750"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213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7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5956" y="2654301"/>
            <a:ext cx="7803445" cy="1674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07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602" y="402167"/>
            <a:ext cx="14125221" cy="397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28601" y="35985"/>
            <a:ext cx="1146148" cy="28732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1217750">
              <a:defRPr/>
            </a:pPr>
            <a:r>
              <a:rPr lang="ru-RU" sz="1867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7312" y="1261534"/>
            <a:ext cx="15632288" cy="3282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133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217313" y="8356797"/>
            <a:ext cx="15505289" cy="2051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333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217312" y="8771467"/>
            <a:ext cx="12448821" cy="2051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828214" indent="-828214" defTabSz="1216439">
              <a:tabLst>
                <a:tab pos="832527" algn="l"/>
              </a:tabLst>
              <a:defRPr/>
            </a:pPr>
            <a:r>
              <a:rPr lang="ru-RU" sz="1333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078" name="ACET" hidden="1"/>
          <p:cNvGrpSpPr>
            <a:grpSpLocks/>
          </p:cNvGrpSpPr>
          <p:nvPr/>
        </p:nvGrpSpPr>
        <p:grpSpPr bwMode="auto">
          <a:xfrm>
            <a:off x="2635956" y="1549771"/>
            <a:ext cx="7732889" cy="674847"/>
            <a:chOff x="915" y="718"/>
            <a:chExt cx="2686" cy="312"/>
          </a:xfrm>
        </p:grpSpPr>
        <p:cxnSp>
          <p:nvCxnSpPr>
            <p:cNvPr id="1082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8"/>
              <a:ext cx="2686" cy="3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1217750">
                <a:defRPr/>
              </a:pPr>
              <a:r>
                <a:rPr lang="ru-RU" sz="213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1217750">
                <a:defRPr/>
              </a:pPr>
              <a:r>
                <a:rPr lang="ru-RU" sz="213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 userDrawn="1"/>
        </p:nvSpPr>
        <p:spPr bwMode="auto">
          <a:xfrm>
            <a:off x="217313" y="8606367"/>
            <a:ext cx="1580726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235" tIns="124235" rIns="124235" bIns="124235" anchor="ctr"/>
          <a:lstStyle/>
          <a:p>
            <a:pPr defTabSz="1217750">
              <a:defRPr/>
            </a:pPr>
            <a:endParaRPr lang="ru-RU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/>
        </p:nvSpPr>
        <p:spPr bwMode="auto">
          <a:xfrm>
            <a:off x="228602" y="1202267"/>
            <a:ext cx="157988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235" tIns="124235" rIns="124235" bIns="124235" anchor="ctr"/>
          <a:lstStyle/>
          <a:p>
            <a:pPr defTabSz="1217750">
              <a:defRPr/>
            </a:pPr>
            <a:endParaRPr lang="ru-RU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081" name="navigation8" descr="ujkm,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14540090" y="57151"/>
            <a:ext cx="1608667" cy="1068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3853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</p:sldLayoutIdLst>
  <p:hf hdr="0" ftr="0" dt="0"/>
  <p:txStyles>
    <p:titleStyle>
      <a:lvl1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2pPr>
      <a:lvl3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3pPr>
      <a:lvl4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4pPr>
      <a:lvl5pPr algn="l" defTabSz="1214936" rtl="0" eaLnBrk="0" fontAlgn="base" hangingPunct="0">
        <a:spcBef>
          <a:spcPct val="0"/>
        </a:spcBef>
        <a:spcAft>
          <a:spcPct val="0"/>
        </a:spcAft>
        <a:tabLst>
          <a:tab pos="484705" algn="l"/>
        </a:tabLst>
        <a:defRPr sz="2533" b="1">
          <a:solidFill>
            <a:schemeClr val="tx2"/>
          </a:solidFill>
          <a:latin typeface="Arial" charset="0"/>
        </a:defRPr>
      </a:lvl5pPr>
      <a:lvl6pPr marL="621152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42317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63472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84643" algn="l" defTabSz="121643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457189" indent="-457189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262460" indent="-260344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>
          <a:solidFill>
            <a:schemeClr val="tx1"/>
          </a:solidFill>
          <a:latin typeface="+mn-lt"/>
        </a:defRPr>
      </a:lvl2pPr>
      <a:lvl3pPr marL="620168" indent="-355591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>
          <a:solidFill>
            <a:schemeClr val="tx1"/>
          </a:solidFill>
          <a:latin typeface="+mn-lt"/>
        </a:defRPr>
      </a:lvl3pPr>
      <a:lvl4pPr marL="833946" indent="-209545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>
          <a:solidFill>
            <a:schemeClr val="tx1"/>
          </a:solidFill>
          <a:latin typeface="+mn-lt"/>
        </a:defRPr>
      </a:lvl4pPr>
      <a:lvl5pPr marL="1018092" indent="-175680" algn="l" defTabSz="121493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5pPr>
      <a:lvl6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1018703" indent="-176858" algn="l" defTabSz="12164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152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2317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3472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4643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5797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6959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48118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69280" algn="l" defTabSz="124231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"/>
            <a:ext cx="16241563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03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</p:sldLayoutIdLst>
  <p:hf hdr="0" ftr="0" dt="0"/>
  <p:txStyles>
    <p:titleStyle>
      <a:lvl1pPr algn="l" defTabSz="1624066" rtl="0" eaLnBrk="1" latinLnBrk="0" hangingPunct="1">
        <a:lnSpc>
          <a:spcPct val="90000"/>
        </a:lnSpc>
        <a:spcBef>
          <a:spcPct val="0"/>
        </a:spcBef>
        <a:buNone/>
        <a:defRPr sz="78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016" indent="-406016" algn="l" defTabSz="1624066" rtl="0" eaLnBrk="1" latinLnBrk="0" hangingPunct="1">
        <a:lnSpc>
          <a:spcPct val="90000"/>
        </a:lnSpc>
        <a:spcBef>
          <a:spcPts val="1776"/>
        </a:spcBef>
        <a:buFont typeface="Arial"/>
        <a:buChar char="•"/>
        <a:defRPr sz="4973" kern="1200">
          <a:solidFill>
            <a:schemeClr val="tx1"/>
          </a:solidFill>
          <a:latin typeface="+mn-lt"/>
          <a:ea typeface="+mn-ea"/>
          <a:cs typeface="+mn-cs"/>
        </a:defRPr>
      </a:lvl1pPr>
      <a:lvl2pPr marL="1218049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2pPr>
      <a:lvl3pPr marL="2030082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3pPr>
      <a:lvl4pPr marL="2842115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654148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466181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5278214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6090247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902280" indent="-406016" algn="l" defTabSz="1624066" rtl="0" eaLnBrk="1" latinLnBrk="0" hangingPunct="1">
        <a:lnSpc>
          <a:spcPct val="90000"/>
        </a:lnSpc>
        <a:spcBef>
          <a:spcPts val="888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203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4066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6099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8132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60165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2198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4230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6263" algn="l" defTabSz="1624066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45" y="8597918"/>
            <a:ext cx="1114777" cy="503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933" b="1">
                <a:solidFill>
                  <a:schemeClr val="hlink"/>
                </a:solidFill>
              </a:defRPr>
            </a:lvl1pPr>
          </a:lstStyle>
          <a:p>
            <a:fld id="{204D735E-41D8-4774-ADEA-1218D38F2738}" type="slidenum">
              <a:rPr lang="ru-RU" altLang="ru-RU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31"/>
            <a:ext cx="14977532" cy="6864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1"/>
            <a:ext cx="13569244" cy="128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90" y="141818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0781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5pPr>
      <a:lvl6pPr marL="608817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6pPr>
      <a:lvl7pPr marL="121762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7pPr>
      <a:lvl8pPr marL="182643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8pPr>
      <a:lvl9pPr marL="243524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0989" indent="-2409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479863" indent="-23675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867">
          <a:solidFill>
            <a:schemeClr val="tx1"/>
          </a:solidFill>
          <a:latin typeface="+mn-lt"/>
          <a:cs typeface="+mn-cs"/>
        </a:defRPr>
      </a:lvl2pPr>
      <a:lvl3pPr marL="1547391" indent="-35725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933">
          <a:solidFill>
            <a:schemeClr val="tx1"/>
          </a:solidFill>
          <a:latin typeface="+mn-lt"/>
          <a:cs typeface="+mn-cs"/>
        </a:defRPr>
      </a:lvl3pPr>
      <a:lvl4pPr marL="2217506" indent="-304400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cs typeface="+mn-cs"/>
        </a:defRPr>
      </a:lvl4pPr>
      <a:lvl5pPr marL="2760784" indent="-304400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5pPr>
      <a:lvl6pPr marL="3369594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6pPr>
      <a:lvl7pPr marL="3978403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7pPr>
      <a:lvl8pPr marL="4587213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8pPr>
      <a:lvl9pPr marL="5196023" indent="-304400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17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62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43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24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051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2859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671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480" algn="l" defTabSz="12176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32" y="8597937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2933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1C587B52-5E22-4EFA-8BCD-7D3467DA6868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18"/>
            <a:ext cx="14977532" cy="6864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1"/>
            <a:ext cx="13569244" cy="1282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4232470" y="141818"/>
            <a:ext cx="1577621" cy="104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7524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2667" b="1">
          <a:solidFill>
            <a:schemeClr val="hlink"/>
          </a:solidFill>
          <a:latin typeface="Arial" pitchFamily="34" charset="0"/>
        </a:defRPr>
      </a:lvl9pPr>
    </p:titleStyle>
    <p:bodyStyle>
      <a:lvl1pPr marL="241294" indent="-24129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3706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867">
          <a:solidFill>
            <a:schemeClr val="tx1"/>
          </a:solidFill>
          <a:latin typeface="+mn-lt"/>
        </a:defRPr>
      </a:lvl2pPr>
      <a:lvl3pPr marL="1549361" indent="-35770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933">
          <a:solidFill>
            <a:schemeClr val="tx1"/>
          </a:solidFill>
          <a:latin typeface="+mn-lt"/>
        </a:defRPr>
      </a:lvl3pPr>
      <a:lvl4pPr marL="2220328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</a:defRPr>
      </a:lvl4pPr>
      <a:lvl5pPr marL="2764298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5pPr>
      <a:lvl6pPr marL="337388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8346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93052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202637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287972" cy="2159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87972" cy="2159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4697013" y="2641269"/>
            <a:ext cx="286456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000000"/>
                </a:solidFill>
              </a:rPr>
              <a:t>Last Modified 12.30.2014 4:54 PM Russia TZ 2 Standard Time</a:t>
            </a:r>
            <a:endParaRPr lang="ru-RU" sz="2133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4869336" y="5598576"/>
            <a:ext cx="25199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2133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4951" y="2654223"/>
            <a:ext cx="7804032" cy="1674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34660" y="449541"/>
            <a:ext cx="12119618" cy="397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234660" y="36716"/>
            <a:ext cx="88312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5988" y="1262214"/>
            <a:ext cx="156339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215981" y="8356568"/>
            <a:ext cx="15507271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33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215979" y="8771461"/>
            <a:ext cx="12449013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828841" indent="-828841" defTabSz="1217358" fontAlgn="base">
              <a:spcBef>
                <a:spcPct val="0"/>
              </a:spcBef>
              <a:spcAft>
                <a:spcPct val="0"/>
              </a:spcAft>
              <a:tabLst>
                <a:tab pos="833157" algn="l"/>
              </a:tabLst>
            </a:pPr>
            <a:r>
              <a:rPr lang="ru-RU" sz="1333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634951" y="1548478"/>
            <a:ext cx="7734919" cy="675973"/>
            <a:chOff x="915" y="717"/>
            <a:chExt cx="2686" cy="31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215979" y="8606245"/>
            <a:ext cx="1580757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328" tIns="124328" rIns="124328" bIns="12432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229657" y="1202931"/>
            <a:ext cx="1579668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24328" tIns="124328" rIns="124328" bIns="12432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539241" y="56603"/>
            <a:ext cx="1609760" cy="1069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658" y="158668"/>
            <a:ext cx="1818199" cy="979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0456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</p:sldLayoutIdLst>
  <p:hf hdr="0" dt="0"/>
  <p:txStyles>
    <p:titleStyle>
      <a:lvl1pPr algn="l" defTabSz="1217358" rtl="0" eaLnBrk="1" fontAlgn="base" hangingPunct="1">
        <a:spcBef>
          <a:spcPct val="0"/>
        </a:spcBef>
        <a:spcAft>
          <a:spcPct val="0"/>
        </a:spcAft>
        <a:tabLst>
          <a:tab pos="485649" algn="l"/>
        </a:tabLs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21626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43258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64891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86519" algn="l" defTabSz="1217358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263331" indent="-26117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>
          <a:solidFill>
            <a:schemeClr val="tx1"/>
          </a:solidFill>
          <a:latin typeface="+mn-lt"/>
        </a:defRPr>
      </a:lvl2pPr>
      <a:lvl3pPr marL="621626" indent="-356143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>
          <a:solidFill>
            <a:schemeClr val="tx1"/>
          </a:solidFill>
          <a:latin typeface="+mn-lt"/>
        </a:defRPr>
      </a:lvl3pPr>
      <a:lvl4pPr marL="835316" indent="-211528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>
          <a:solidFill>
            <a:schemeClr val="tx1"/>
          </a:solidFill>
          <a:latin typeface="+mn-lt"/>
        </a:defRPr>
      </a:lvl4pPr>
      <a:lvl5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5pPr>
      <a:lvl6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1019472" indent="-176992" algn="l" defTabSz="121735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626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258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4891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6519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8150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9776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1407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3040" algn="l" defTabSz="124325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6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37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3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9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6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37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6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2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19" indent="-35769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66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24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2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0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2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496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7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6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2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7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4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6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37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3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9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6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37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6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2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19" indent="-35769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66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24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2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0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2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496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7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6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2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1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7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48" algn="l" defTabSz="121913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3" y="8597901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3500" b="1" smtClean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91078501-F6C3-46BA-B6FF-72D1C5DEC396}" type="slidenum">
              <a:rPr lang="ru-RU" altLang="ru-RU">
                <a:solidFill>
                  <a:srgbClr val="003274"/>
                </a:solidFill>
                <a:latin typeface="Arial" charset="0"/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  <a:latin typeface="Arial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7" y="1500718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7" y="1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18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555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25714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51427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77141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902854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7262" indent="-28726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2004" indent="-28222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2pPr>
      <a:lvl3pPr marL="1844522" indent="-42585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3500">
          <a:solidFill>
            <a:schemeClr val="tx1"/>
          </a:solidFill>
          <a:latin typeface="+mn-lt"/>
          <a:cs typeface="+mn-cs"/>
        </a:defRPr>
      </a:lvl3pPr>
      <a:lvl4pPr marL="2643312" indent="-362857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290909" indent="-362857" algn="l" rtl="0" eaLnBrk="0" fontAlgn="base" hangingPunct="0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4016623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742337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468050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193764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7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41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54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68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81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95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5708" algn="l" defTabSz="14514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3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900" b="1" i="0">
                <a:solidFill>
                  <a:schemeClr val="hlink"/>
                </a:solidFill>
              </a:defRPr>
            </a:lvl1pPr>
          </a:lstStyle>
          <a:p>
            <a:pPr defTabSz="1219140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121914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9" y="1500719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9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19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567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5pPr>
      <a:lvl6pPr marL="609570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6pPr>
      <a:lvl7pPr marL="1219140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7pPr>
      <a:lvl8pPr marL="1828709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8pPr>
      <a:lvl9pPr marL="2438278" algn="l" rtl="0" fontAlgn="base">
        <a:spcBef>
          <a:spcPct val="0"/>
        </a:spcBef>
        <a:spcAft>
          <a:spcPct val="0"/>
        </a:spcAft>
        <a:defRPr sz="27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41289" indent="-24128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0460" indent="-23705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900">
          <a:solidFill>
            <a:schemeClr val="tx1"/>
          </a:solidFill>
          <a:latin typeface="+mn-lt"/>
          <a:cs typeface="+mn-cs"/>
        </a:defRPr>
      </a:lvl2pPr>
      <a:lvl3pPr marL="1549323" indent="-357699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900">
          <a:solidFill>
            <a:schemeClr val="tx1"/>
          </a:solidFill>
          <a:latin typeface="+mn-lt"/>
          <a:cs typeface="+mn-cs"/>
        </a:defRPr>
      </a:lvl3pPr>
      <a:lvl4pPr marL="2220272" indent="-3047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cs typeface="+mn-cs"/>
        </a:defRPr>
      </a:lvl4pPr>
      <a:lvl5pPr marL="2764230" indent="-3047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5pPr>
      <a:lvl6pPr marL="3373798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6pPr>
      <a:lvl7pPr marL="398336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7pPr>
      <a:lvl8pPr marL="459293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8pPr>
      <a:lvl9pPr marL="5202507" indent="-3047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3" y="8597902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35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fld id="{355292CF-8EF0-4300-95F1-3CD6CC55D917}" type="slidenum">
              <a:rPr lang="ru-RU">
                <a:solidFill>
                  <a:srgbClr val="003274"/>
                </a:solidFill>
              </a:rPr>
              <a:pPr eaLnBrk="1" hangingPunct="1"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7" y="1500719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832557" y="2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19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7986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5pPr>
      <a:lvl6pPr marL="725714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6pPr>
      <a:lvl7pPr marL="1451426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7pPr>
      <a:lvl8pPr marL="2177139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8pPr>
      <a:lvl9pPr marL="2902851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pitchFamily="34" charset="0"/>
        </a:defRPr>
      </a:lvl9pPr>
    </p:titleStyle>
    <p:bodyStyle>
      <a:lvl1pPr marL="287262" indent="-28726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72004" indent="-28222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2pPr>
      <a:lvl3pPr marL="1844520" indent="-425854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3500">
          <a:solidFill>
            <a:schemeClr val="tx1"/>
          </a:solidFill>
          <a:latin typeface="+mn-lt"/>
        </a:defRPr>
      </a:lvl3pPr>
      <a:lvl4pPr marL="2643310" indent="-362857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</a:defRPr>
      </a:lvl4pPr>
      <a:lvl5pPr marL="3290906" indent="-362857" algn="l" rtl="0" eaLnBrk="0" fontAlgn="base" hangingPunct="0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5pPr>
      <a:lvl6pPr marL="4016618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6pPr>
      <a:lvl7pPr marL="4742332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7pPr>
      <a:lvl8pPr marL="5468045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8pPr>
      <a:lvl9pPr marL="6193757" indent="-362857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6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9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51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65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77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90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05702" algn="l" defTabSz="1451426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8589" y="204701"/>
            <a:ext cx="1002455" cy="963169"/>
          </a:xfrm>
          <a:prstGeom prst="rect">
            <a:avLst/>
          </a:prstGeom>
        </p:spPr>
      </p:pic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912754" y="8604449"/>
            <a:ext cx="896100" cy="45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r">
              <a:defRPr sz="25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411587" eaLnBrk="1" hangingPunct="1">
              <a:defRPr/>
            </a:pPr>
            <a:fld id="{671F52DB-673C-4812-A1B7-CAD3549D9649}" type="slidenum">
              <a:rPr lang="ru-RU" smtClean="0">
                <a:solidFill>
                  <a:srgbClr val="003272"/>
                </a:solidFill>
                <a:sym typeface="Arial"/>
              </a:rPr>
              <a:pPr defTabSz="1411587" eaLnBrk="1" hangingPunct="1">
                <a:defRPr/>
              </a:pPr>
              <a:t>‹#›</a:t>
            </a:fld>
            <a:endParaRPr lang="ru-RU" dirty="0">
              <a:solidFill>
                <a:srgbClr val="003272"/>
              </a:solidFill>
              <a:sym typeface="Arial"/>
            </a:endParaRPr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02736" y="3"/>
            <a:ext cx="13698414" cy="11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00276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5pPr>
      <a:lvl6pPr marL="703522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6pPr>
      <a:lvl7pPr marL="1407127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7pPr>
      <a:lvl8pPr marL="2110723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8pPr>
      <a:lvl9pPr marL="2814280" algn="l" rtl="0" fontAlgn="base">
        <a:spcBef>
          <a:spcPct val="0"/>
        </a:spcBef>
        <a:spcAft>
          <a:spcPct val="0"/>
        </a:spcAft>
        <a:defRPr sz="3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78549" indent="-278549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0"/>
        </a:buBlip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554598" indent="-27368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1"/>
        </a:buBlip>
        <a:defRPr sz="2200">
          <a:solidFill>
            <a:schemeClr val="tx1"/>
          </a:solidFill>
          <a:latin typeface="+mn-lt"/>
          <a:cs typeface="+mn-cs"/>
        </a:defRPr>
      </a:lvl2pPr>
      <a:lvl3pPr marL="1788249" indent="-412882" algn="l" rtl="0" eaLnBrk="0" fontAlgn="base" hangingPunct="0">
        <a:spcBef>
          <a:spcPct val="0"/>
        </a:spcBef>
        <a:spcAft>
          <a:spcPct val="30000"/>
        </a:spcAft>
        <a:buBlip>
          <a:blip r:embed="rId11"/>
        </a:buBlip>
        <a:defRPr sz="3500">
          <a:solidFill>
            <a:schemeClr val="tx1"/>
          </a:solidFill>
          <a:latin typeface="+mn-lt"/>
          <a:cs typeface="+mn-cs"/>
        </a:defRPr>
      </a:lvl3pPr>
      <a:lvl4pPr marL="2562656" indent="-351736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3190510" indent="-351736" algn="l" rtl="0" eaLnBrk="0" fontAlgn="base" hangingPunct="0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5pPr>
      <a:lvl6pPr marL="3894061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6pPr>
      <a:lvl7pPr marL="4597641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7pPr>
      <a:lvl8pPr marL="5301212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8pPr>
      <a:lvl9pPr marL="6004786" indent="-351736" algn="l" rtl="0" fontAlgn="base">
        <a:spcBef>
          <a:spcPct val="20000"/>
        </a:spcBef>
        <a:spcAft>
          <a:spcPct val="0"/>
        </a:spcAft>
        <a:buChar char="»"/>
        <a:defRPr sz="3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03522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07127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10723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814280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517865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21435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25013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28571" algn="l" defTabSz="1407127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pos="249" userDrawn="1">
          <p15:clr>
            <a:srgbClr val="F26B43"/>
          </p15:clr>
        </p15:guide>
        <p15:guide id="3" pos="5511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684025" y="8597907"/>
            <a:ext cx="1114777" cy="50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75" b="1" i="0">
                <a:solidFill>
                  <a:schemeClr val="hlink"/>
                </a:solidFill>
              </a:defRPr>
            </a:lvl1pPr>
          </a:lstStyle>
          <a:p>
            <a:pPr defTabSz="914330" fontAlgn="auto">
              <a:spcBef>
                <a:spcPts val="0"/>
              </a:spcBef>
              <a:spcAft>
                <a:spcPts val="0"/>
              </a:spcAft>
            </a:pPr>
            <a:fld id="{CCEA2A6F-C161-4685-A981-1E1E3291A9A5}" type="slidenum">
              <a:rPr lang="ru-RU" smtClean="0">
                <a:solidFill>
                  <a:srgbClr val="003274"/>
                </a:solidFill>
                <a:latin typeface="Arial"/>
              </a:rPr>
              <a:pPr defTabSz="9143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2558" y="1500720"/>
            <a:ext cx="14977532" cy="6864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2558" y="3"/>
            <a:ext cx="13569244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468" y="141820"/>
            <a:ext cx="1577621" cy="10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7232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5pPr>
      <a:lvl6pPr marL="45716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6pPr>
      <a:lvl7pPr marL="914330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7pPr>
      <a:lvl8pPr marL="1371495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8pPr>
      <a:lvl9pPr marL="1828658" algn="l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62" indent="-180962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ea typeface="+mn-ea"/>
          <a:cs typeface="+mn-cs"/>
        </a:defRPr>
      </a:lvl1pPr>
      <a:lvl2pPr marL="360336" indent="-17778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25">
          <a:solidFill>
            <a:schemeClr val="tx1"/>
          </a:solidFill>
          <a:latin typeface="+mn-lt"/>
          <a:cs typeface="+mn-cs"/>
        </a:defRPr>
      </a:lvl2pPr>
      <a:lvl3pPr marL="1161960" indent="-268267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175">
          <a:solidFill>
            <a:schemeClr val="tx1"/>
          </a:solidFill>
          <a:latin typeface="+mn-lt"/>
          <a:cs typeface="+mn-cs"/>
        </a:defRPr>
      </a:lvl3pPr>
      <a:lvl4pPr marL="1665158" indent="-228582" algn="l" rtl="0" eaLnBrk="1" fontAlgn="base" hangingPunct="1">
        <a:spcBef>
          <a:spcPct val="20000"/>
        </a:spcBef>
        <a:spcAft>
          <a:spcPct val="0"/>
        </a:spcAft>
        <a:buChar char="–"/>
        <a:defRPr sz="2025">
          <a:solidFill>
            <a:schemeClr val="tx1"/>
          </a:solidFill>
          <a:latin typeface="+mn-lt"/>
          <a:cs typeface="+mn-cs"/>
        </a:defRPr>
      </a:lvl4pPr>
      <a:lvl5pPr marL="2073116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5pPr>
      <a:lvl6pPr marL="2530281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6pPr>
      <a:lvl7pPr marL="2987445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7pPr>
      <a:lvl8pPr marL="3444609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8pPr>
      <a:lvl9pPr marL="3901774" indent="-228582" algn="l" rtl="0" eaLnBrk="1" fontAlgn="base" hangingPunct="1">
        <a:spcBef>
          <a:spcPct val="20000"/>
        </a:spcBef>
        <a:spcAft>
          <a:spcPct val="0"/>
        </a:spcAft>
        <a:buChar char="»"/>
        <a:defRPr sz="20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8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4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3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9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8.xml"/><Relationship Id="rId5" Type="http://schemas.openxmlformats.org/officeDocument/2006/relationships/chart" Target="../charts/chart5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6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6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-2658" y="481879"/>
            <a:ext cx="14149640" cy="756240"/>
          </a:xfrm>
          <a:prstGeom prst="rect">
            <a:avLst/>
          </a:prstGeom>
        </p:spPr>
        <p:txBody>
          <a:bodyPr vert="horz" lIns="255429" tIns="88174" rIns="176347" bIns="88174" rtlCol="0" anchor="ctr">
            <a:noAutofit/>
          </a:bodyPr>
          <a:lstStyle/>
          <a:p>
            <a:pPr defTabSz="913537"/>
            <a:endParaRPr lang="ru-RU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613000" y="747000"/>
            <a:ext cx="14130000" cy="957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16240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85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 defTabSz="1624026">
              <a:defRPr/>
            </a:pPr>
            <a:r>
              <a:rPr lang="ru-RU" sz="2400" noProof="0" dirty="0" smtClean="0">
                <a:solidFill>
                  <a:srgbClr val="C00000"/>
                </a:solidFill>
              </a:rPr>
              <a:t>Новый Слайд </a:t>
            </a:r>
          </a:p>
          <a:p>
            <a:pPr defTabSz="1624026">
              <a:defRPr/>
            </a:pP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Результаты </a:t>
            </a:r>
            <a:r>
              <a:rPr lang="ru-RU" sz="2400" dirty="0">
                <a:solidFill>
                  <a:srgbClr val="4472C4">
                    <a:lumMod val="50000"/>
                  </a:srgbClr>
                </a:solidFill>
              </a:rPr>
              <a:t>ПСР-проекта. Сокращение сроков 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согласования ТЗ/ТУ. </a:t>
            </a:r>
            <a:b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</a:b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Повышение </a:t>
            </a:r>
            <a:r>
              <a:rPr lang="ru-RU" sz="2400" dirty="0" err="1" smtClean="0">
                <a:solidFill>
                  <a:srgbClr val="4472C4">
                    <a:lumMod val="50000"/>
                  </a:srgbClr>
                </a:solidFill>
              </a:rPr>
              <a:t>исполняемости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 договоро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224" y="5845446"/>
            <a:ext cx="166210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после </a:t>
            </a:r>
            <a:b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м. приказа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87149" y="3145167"/>
            <a:ext cx="15268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4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З/ТУ*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50018" y="5492925"/>
            <a:ext cx="14295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7 ТЗ/ТУ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04829" y="6855138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88" y="3419378"/>
            <a:ext cx="159369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</a:t>
            </a:r>
            <a:b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изм. приказа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91593D-855C-885E-390A-F5EBB5BDC8CD}"/>
              </a:ext>
            </a:extLst>
          </p:cNvPr>
          <p:cNvSpPr txBox="1"/>
          <p:nvPr/>
        </p:nvSpPr>
        <p:spPr>
          <a:xfrm>
            <a:off x="4070371" y="3143070"/>
            <a:ext cx="1208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&gt;30 дн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5E2CFE-B80E-A20F-182D-BA04014662A8}"/>
              </a:ext>
            </a:extLst>
          </p:cNvPr>
          <p:cNvSpPr txBox="1"/>
          <p:nvPr/>
        </p:nvSpPr>
        <p:spPr>
          <a:xfrm>
            <a:off x="5368508" y="3132000"/>
            <a:ext cx="13531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&gt;30..60 дн.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6893081" y="3131102"/>
            <a:ext cx="1353158" cy="310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gt;60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30">
            <a:extLst>
              <a:ext uri="{FF2B5EF4-FFF2-40B4-BE49-F238E27FC236}">
                <a16:creationId xmlns:a16="http://schemas.microsoft.com/office/drawing/2014/main" id="{19650C8C-AE93-CB98-B5A4-EB5A6BF09D22}"/>
              </a:ext>
            </a:extLst>
          </p:cNvPr>
          <p:cNvSpPr/>
          <p:nvPr/>
        </p:nvSpPr>
        <p:spPr>
          <a:xfrm>
            <a:off x="3956257" y="3634544"/>
            <a:ext cx="1127336" cy="27580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(17%)</a:t>
            </a:r>
          </a:p>
        </p:txBody>
      </p:sp>
      <p:sp>
        <p:nvSpPr>
          <p:cNvPr id="25" name="Прямоугольник: скругленные углы 100">
            <a:extLst>
              <a:ext uri="{FF2B5EF4-FFF2-40B4-BE49-F238E27FC236}">
                <a16:creationId xmlns:a16="http://schemas.microsoft.com/office/drawing/2014/main" id="{9D7E6E73-8B7A-FA48-478C-8527F4DDAD9D}"/>
              </a:ext>
            </a:extLst>
          </p:cNvPr>
          <p:cNvSpPr/>
          <p:nvPr/>
        </p:nvSpPr>
        <p:spPr>
          <a:xfrm>
            <a:off x="5264483" y="3647137"/>
            <a:ext cx="1178700" cy="25646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 (20 %)</a:t>
            </a:r>
          </a:p>
        </p:txBody>
      </p:sp>
      <p:sp>
        <p:nvSpPr>
          <p:cNvPr id="26" name="Прямоугольник: скругленные углы 104">
            <a:extLst>
              <a:ext uri="{FF2B5EF4-FFF2-40B4-BE49-F238E27FC236}">
                <a16:creationId xmlns:a16="http://schemas.microsoft.com/office/drawing/2014/main" id="{BBFBD5F0-C9E5-F946-EFF7-4B2DE42028D3}"/>
              </a:ext>
            </a:extLst>
          </p:cNvPr>
          <p:cNvSpPr/>
          <p:nvPr/>
        </p:nvSpPr>
        <p:spPr>
          <a:xfrm>
            <a:off x="6540690" y="3623732"/>
            <a:ext cx="1180966" cy="386083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5 (63%)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: скругленные углы 69">
            <a:extLst>
              <a:ext uri="{FF2B5EF4-FFF2-40B4-BE49-F238E27FC236}">
                <a16:creationId xmlns:a16="http://schemas.microsoft.com/office/drawing/2014/main" id="{A0A00787-CA41-2513-905B-E8BACF112E0B}"/>
              </a:ext>
            </a:extLst>
          </p:cNvPr>
          <p:cNvSpPr/>
          <p:nvPr/>
        </p:nvSpPr>
        <p:spPr>
          <a:xfrm>
            <a:off x="3956257" y="5916924"/>
            <a:ext cx="1135735" cy="45950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 (</a:t>
            </a:r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%)</a:t>
            </a:r>
            <a:endParaRPr lang="ru-RU" sz="1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: скругленные углы 70">
            <a:extLst>
              <a:ext uri="{FF2B5EF4-FFF2-40B4-BE49-F238E27FC236}">
                <a16:creationId xmlns:a16="http://schemas.microsoft.com/office/drawing/2014/main" id="{40990CDD-C0ED-2F60-F0F3-3AA790469364}"/>
              </a:ext>
            </a:extLst>
          </p:cNvPr>
          <p:cNvSpPr/>
          <p:nvPr/>
        </p:nvSpPr>
        <p:spPr>
          <a:xfrm>
            <a:off x="6585826" y="5930762"/>
            <a:ext cx="1154364" cy="35387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 (32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29" name="Прямоугольник: скругленные углы 72">
            <a:extLst>
              <a:ext uri="{FF2B5EF4-FFF2-40B4-BE49-F238E27FC236}">
                <a16:creationId xmlns:a16="http://schemas.microsoft.com/office/drawing/2014/main" id="{6727261E-9F2D-C10F-E132-DE9C1ACF3F0E}"/>
              </a:ext>
            </a:extLst>
          </p:cNvPr>
          <p:cNvSpPr/>
          <p:nvPr/>
        </p:nvSpPr>
        <p:spPr>
          <a:xfrm>
            <a:off x="5210822" y="5916924"/>
            <a:ext cx="1208637" cy="381552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 (</a:t>
            </a:r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%)</a:t>
            </a:r>
            <a:endParaRPr lang="ru-RU" sz="1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604060" y="3636448"/>
            <a:ext cx="2238678" cy="39555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220779" y="3628853"/>
            <a:ext cx="1642722" cy="403147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9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799826" y="3653868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5</a:t>
            </a:r>
          </a:p>
        </p:txBody>
      </p:sp>
      <p:sp>
        <p:nvSpPr>
          <p:cNvPr id="35" name="Левая фигурная скобка 34"/>
          <p:cNvSpPr/>
          <p:nvPr/>
        </p:nvSpPr>
        <p:spPr>
          <a:xfrm rot="-5400000">
            <a:off x="2885345" y="3327150"/>
            <a:ext cx="295494" cy="1660824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604060" y="5912801"/>
            <a:ext cx="1600769" cy="41953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908000" y="5916923"/>
            <a:ext cx="955501" cy="420965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Левая фигурная скобка 44"/>
          <p:cNvSpPr/>
          <p:nvPr/>
        </p:nvSpPr>
        <p:spPr>
          <a:xfrm rot="-5400000">
            <a:off x="3272481" y="6011953"/>
            <a:ext cx="205779" cy="93473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987149" y="5996380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122597" y="6649223"/>
            <a:ext cx="13243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%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18239" y="2361836"/>
            <a:ext cx="8128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4472C4">
                    <a:lumMod val="50000"/>
                  </a:srgbClr>
                </a:solidFill>
              </a:rPr>
              <a:t>Анализ изменений сроков согласования ТЗ/ТУ:</a:t>
            </a:r>
            <a:r>
              <a:rPr lang="ru-RU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  <a:r>
              <a:rPr lang="ru-RU" dirty="0">
                <a:solidFill>
                  <a:srgbClr val="4472C4">
                    <a:lumMod val="50000"/>
                  </a:srgbClr>
                </a:solidFill>
              </a:rPr>
              <a:t/>
            </a:r>
            <a:br>
              <a:rPr lang="ru-RU" dirty="0">
                <a:solidFill>
                  <a:srgbClr val="4472C4">
                    <a:lumMod val="50000"/>
                  </a:srgbClr>
                </a:solidFill>
              </a:rPr>
            </a:b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55925" y="7325776"/>
            <a:ext cx="8128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8669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</a:rPr>
              <a:t>За счет включения новых инструментов в Приказ 1/1134-П:</a:t>
            </a:r>
          </a:p>
          <a:p>
            <a:pPr marL="285750" indent="-285750" defTabSz="1218669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Снижение уровня просрочек 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в 2 раза</a:t>
            </a:r>
            <a:r>
              <a:rPr lang="en-US" sz="1250" b="1" dirty="0">
                <a:solidFill>
                  <a:srgbClr val="00B050"/>
                </a:solidFill>
                <a:latin typeface="Arial"/>
              </a:rPr>
              <a:t>,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 с 61% до 27</a:t>
            </a: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%</a:t>
            </a:r>
          </a:p>
          <a:p>
            <a:pPr marL="285750" indent="-285750" defTabSz="1218669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/>
              </a:rPr>
              <a:t>Из них -  ТЗ/ТУ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с нарушением </a:t>
            </a:r>
            <a:r>
              <a:rPr lang="ru-RU" sz="1400" b="1" dirty="0">
                <a:solidFill>
                  <a:srgbClr val="FF0000"/>
                </a:solidFill>
                <a:latin typeface="Arial"/>
              </a:rPr>
              <a:t>свыше 30 дней – более 60</a:t>
            </a:r>
            <a:r>
              <a:rPr lang="ru-RU" sz="1400" b="1" dirty="0" smtClean="0">
                <a:solidFill>
                  <a:srgbClr val="FF0000"/>
                </a:solidFill>
                <a:latin typeface="Arial"/>
              </a:rPr>
              <a:t>%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Будет продолжен мониторинг</a:t>
            </a: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C7E4B360-A799-A271-2414-0416AFECB0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00" y="4663584"/>
            <a:ext cx="401374" cy="40137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0E6BC702-E65D-EE35-EAB4-D829B68C539C}"/>
              </a:ext>
            </a:extLst>
          </p:cNvPr>
          <p:cNvSpPr txBox="1"/>
          <p:nvPr/>
        </p:nvSpPr>
        <p:spPr>
          <a:xfrm>
            <a:off x="1014374" y="4545507"/>
            <a:ext cx="2161758" cy="66941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669"/>
            <a:r>
              <a:rPr lang="en-US" sz="1250" b="1" dirty="0">
                <a:solidFill>
                  <a:srgbClr val="00B050"/>
                </a:solidFill>
                <a:latin typeface="Arial"/>
              </a:rPr>
              <a:t>10.12.2021 </a:t>
            </a: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Изм. Порядка </a:t>
            </a:r>
            <a:br>
              <a:rPr lang="ru-RU" sz="1250" b="1" dirty="0" smtClean="0">
                <a:solidFill>
                  <a:srgbClr val="00B050"/>
                </a:solidFill>
                <a:latin typeface="Arial"/>
              </a:rPr>
            </a:b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согласования 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ТЗ/ТУ </a:t>
            </a:r>
            <a:r>
              <a:rPr lang="ru-RU" sz="1250" b="1" dirty="0" smtClean="0">
                <a:solidFill>
                  <a:srgbClr val="00B050"/>
                </a:solidFill>
                <a:latin typeface="Arial"/>
              </a:rPr>
              <a:t>(Приказ № </a:t>
            </a:r>
            <a:r>
              <a:rPr lang="ru-RU" sz="1250" b="1" dirty="0">
                <a:solidFill>
                  <a:srgbClr val="00B050"/>
                </a:solidFill>
                <a:latin typeface="Arial"/>
              </a:rPr>
              <a:t>1/1134-П)</a:t>
            </a: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A2CCAF1A-2058-7656-2BD0-481B690777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580" y="4617000"/>
            <a:ext cx="307014" cy="307014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0843BE22-6ACB-A10B-4A18-0AC5FAAA68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2843" y="4980764"/>
            <a:ext cx="275631" cy="275631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0962F1B7-2C5B-1407-35BE-44EF0C3EFB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873" y="5241333"/>
            <a:ext cx="318127" cy="318127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26B27324-68E9-0BD2-9921-0CD2FEC8CAA1}"/>
              </a:ext>
            </a:extLst>
          </p:cNvPr>
          <p:cNvSpPr txBox="1"/>
          <p:nvPr/>
        </p:nvSpPr>
        <p:spPr>
          <a:xfrm>
            <a:off x="3785253" y="5299817"/>
            <a:ext cx="8410426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скалация -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е порядка согласования 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ТЗ/ТУ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3835665" y="4689481"/>
            <a:ext cx="3512757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ие коллизии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. Арбитраж (КРЭА)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3840828" y="5027027"/>
            <a:ext cx="4569071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КРЭА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 – согласующий на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оборудование (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ЭС </a:t>
            </a:r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за рубежом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742313" y="4333380"/>
            <a:ext cx="106005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1 %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831873" y="4389836"/>
            <a:ext cx="1884427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вые инструменты:</a:t>
            </a:r>
            <a:endParaRPr lang="ru-RU" sz="12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83376" y="8704223"/>
            <a:ext cx="353623" cy="2025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780743" y="8626890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огласованы в сроки</a:t>
            </a:r>
            <a:endParaRPr lang="ru-RU" sz="10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2733852" y="8686383"/>
            <a:ext cx="353623" cy="20256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3166226" y="8623366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 просрочкой </a:t>
            </a:r>
            <a:r>
              <a:rPr lang="ru-RU" sz="1000" dirty="0" err="1" smtClean="0"/>
              <a:t>согалсования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104734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-2658" y="481879"/>
            <a:ext cx="14149640" cy="756240"/>
          </a:xfrm>
          <a:prstGeom prst="rect">
            <a:avLst/>
          </a:prstGeom>
        </p:spPr>
        <p:txBody>
          <a:bodyPr vert="horz" lIns="255429" tIns="88174" rIns="176347" bIns="88174" rtlCol="0" anchor="ctr">
            <a:noAutofit/>
          </a:bodyPr>
          <a:lstStyle/>
          <a:p>
            <a:pPr defTabSz="913537"/>
            <a:endParaRPr lang="ru-RU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613000" y="747000"/>
            <a:ext cx="14130000" cy="957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16240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85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 defTabSz="1624026">
              <a:defRPr/>
            </a:pPr>
            <a:r>
              <a:rPr lang="ru-RU" sz="2400" noProof="0" dirty="0" smtClean="0">
                <a:solidFill>
                  <a:srgbClr val="C00000"/>
                </a:solidFill>
              </a:rPr>
              <a:t>Новый Слайд </a:t>
            </a:r>
          </a:p>
          <a:p>
            <a:pPr defTabSz="1624026">
              <a:defRPr/>
            </a:pP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Результаты </a:t>
            </a:r>
            <a:r>
              <a:rPr lang="ru-RU" sz="2400" dirty="0">
                <a:solidFill>
                  <a:srgbClr val="4472C4">
                    <a:lumMod val="50000"/>
                  </a:srgbClr>
                </a:solidFill>
              </a:rPr>
              <a:t>ПСР-проекта. Сокращение сроков 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согласования ТЗ/ТУ. </a:t>
            </a:r>
            <a:b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</a:b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Повышение </a:t>
            </a:r>
            <a:r>
              <a:rPr lang="ru-RU" sz="2400" dirty="0" err="1" smtClean="0">
                <a:solidFill>
                  <a:srgbClr val="4472C4">
                    <a:lumMod val="50000"/>
                  </a:srgbClr>
                </a:solidFill>
              </a:rPr>
              <a:t>исполняемости</a:t>
            </a:r>
            <a:r>
              <a:rPr lang="ru-RU" sz="2400" dirty="0" smtClean="0">
                <a:solidFill>
                  <a:srgbClr val="4472C4">
                    <a:lumMod val="50000"/>
                  </a:srgbClr>
                </a:solidFill>
              </a:rPr>
              <a:t> договоро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04829" y="6855138"/>
            <a:ext cx="8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2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83376" y="1803274"/>
            <a:ext cx="8128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4472C4">
                    <a:lumMod val="50000"/>
                  </a:srgbClr>
                </a:solidFill>
              </a:rPr>
              <a:t>Анализ изменений сроков согласования ТЗ/ТУ:</a:t>
            </a:r>
            <a:r>
              <a:rPr lang="ru-RU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  <a:r>
              <a:rPr lang="ru-RU" dirty="0">
                <a:solidFill>
                  <a:srgbClr val="4472C4">
                    <a:lumMod val="50000"/>
                  </a:srgbClr>
                </a:solidFill>
              </a:rPr>
              <a:t/>
            </a:r>
            <a:br>
              <a:rPr lang="ru-RU" dirty="0">
                <a:solidFill>
                  <a:srgbClr val="4472C4">
                    <a:lumMod val="50000"/>
                  </a:srgbClr>
                </a:solidFill>
              </a:rPr>
            </a:br>
            <a:endParaRPr lang="ru-RU" dirty="0"/>
          </a:p>
        </p:txBody>
      </p:sp>
      <p:graphicFrame>
        <p:nvGraphicFramePr>
          <p:cNvPr id="58" name="Диаграмма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8353019"/>
              </p:ext>
            </p:extLst>
          </p:nvPr>
        </p:nvGraphicFramePr>
        <p:xfrm>
          <a:off x="143164" y="2540330"/>
          <a:ext cx="5535000" cy="2976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170487" y="4132445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309 (61%)</a:t>
            </a:r>
            <a:endParaRPr lang="ru-RU" sz="13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3914121" y="4439395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185 </a:t>
            </a:r>
          </a:p>
          <a:p>
            <a:pPr algn="ctr"/>
            <a:r>
              <a:rPr lang="ru-RU" sz="1300" b="1" dirty="0" smtClean="0"/>
              <a:t>(27%)</a:t>
            </a:r>
            <a:endParaRPr lang="ru-RU" sz="1300" b="1" dirty="0"/>
          </a:p>
        </p:txBody>
      </p:sp>
      <p:sp>
        <p:nvSpPr>
          <p:cNvPr id="59" name="TextBox 58"/>
          <p:cNvSpPr txBox="1"/>
          <p:nvPr/>
        </p:nvSpPr>
        <p:spPr>
          <a:xfrm>
            <a:off x="1108000" y="3315802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195 </a:t>
            </a:r>
          </a:p>
          <a:p>
            <a:pPr algn="ctr"/>
            <a:r>
              <a:rPr lang="ru-RU" sz="1300" b="1" dirty="0" smtClean="0"/>
              <a:t>(39%)</a:t>
            </a:r>
            <a:endParaRPr lang="ru-RU" sz="1300" b="1" dirty="0"/>
          </a:p>
        </p:txBody>
      </p:sp>
      <p:sp>
        <p:nvSpPr>
          <p:cNvPr id="60" name="TextBox 59"/>
          <p:cNvSpPr txBox="1"/>
          <p:nvPr/>
        </p:nvSpPr>
        <p:spPr>
          <a:xfrm>
            <a:off x="3894036" y="3562051"/>
            <a:ext cx="72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/>
              <a:t>502 </a:t>
            </a:r>
          </a:p>
          <a:p>
            <a:pPr algn="ctr"/>
            <a:r>
              <a:rPr lang="ru-RU" sz="1300" b="1" dirty="0" smtClean="0"/>
              <a:t>(73%)</a:t>
            </a:r>
            <a:endParaRPr lang="ru-RU" sz="1300" b="1" dirty="0"/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2150009" y="3900696"/>
            <a:ext cx="1408665" cy="45833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-144816" y="3421878"/>
            <a:ext cx="39456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5" defTabSz="1218669"/>
            <a:r>
              <a:rPr lang="ru-RU" sz="1200" b="1" dirty="0">
                <a:solidFill>
                  <a:srgbClr val="00B050"/>
                </a:solidFill>
                <a:latin typeface="Arial"/>
              </a:rPr>
              <a:t>Снижение уровня </a:t>
            </a:r>
            <a:endParaRPr lang="ru-RU" sz="1200" b="1" dirty="0" smtClean="0">
              <a:solidFill>
                <a:srgbClr val="00B050"/>
              </a:solidFill>
              <a:latin typeface="Arial"/>
            </a:endParaRPr>
          </a:p>
          <a:p>
            <a:pPr lvl="5" defTabSz="1218669"/>
            <a:r>
              <a:rPr lang="ru-RU" sz="1200" b="1" dirty="0" smtClean="0">
                <a:solidFill>
                  <a:srgbClr val="00B050"/>
                </a:solidFill>
                <a:latin typeface="Arial"/>
              </a:rPr>
              <a:t>просрочек </a:t>
            </a:r>
            <a:r>
              <a:rPr lang="ru-RU" sz="1200" b="1" dirty="0">
                <a:solidFill>
                  <a:srgbClr val="00B050"/>
                </a:solidFill>
                <a:latin typeface="Arial"/>
              </a:rPr>
              <a:t>в 2 </a:t>
            </a:r>
            <a:r>
              <a:rPr lang="ru-RU" sz="1200" b="1" dirty="0" smtClean="0">
                <a:solidFill>
                  <a:srgbClr val="00B050"/>
                </a:solidFill>
                <a:latin typeface="Arial"/>
              </a:rPr>
              <a:t>раза</a:t>
            </a:r>
            <a:endParaRPr lang="ru-RU" sz="12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49897" y="2380969"/>
            <a:ext cx="8128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8669"/>
            <a:r>
              <a:rPr lang="en-US" sz="1100" b="1" dirty="0">
                <a:solidFill>
                  <a:srgbClr val="00B050"/>
                </a:solidFill>
                <a:latin typeface="Arial"/>
              </a:rPr>
              <a:t>10.12.2021 </a:t>
            </a:r>
            <a:r>
              <a:rPr lang="ru-RU" sz="1100" b="1" dirty="0">
                <a:solidFill>
                  <a:srgbClr val="00B050"/>
                </a:solidFill>
                <a:latin typeface="Arial"/>
              </a:rPr>
              <a:t>Изм. Порядка </a:t>
            </a:r>
            <a:br>
              <a:rPr lang="ru-RU" sz="1100" b="1" dirty="0">
                <a:solidFill>
                  <a:srgbClr val="00B050"/>
                </a:solidFill>
                <a:latin typeface="Arial"/>
              </a:rPr>
            </a:br>
            <a:r>
              <a:rPr lang="ru-RU" sz="1100" b="1" dirty="0">
                <a:solidFill>
                  <a:srgbClr val="00B050"/>
                </a:solidFill>
                <a:latin typeface="Arial"/>
              </a:rPr>
              <a:t>согласования ТЗ/ТУ </a:t>
            </a:r>
            <a:endParaRPr lang="ru-RU" sz="1100" b="1" dirty="0" smtClean="0">
              <a:solidFill>
                <a:srgbClr val="00B050"/>
              </a:solidFill>
              <a:latin typeface="Arial"/>
            </a:endParaRPr>
          </a:p>
          <a:p>
            <a:pPr defTabSz="1218669"/>
            <a:r>
              <a:rPr lang="ru-RU" sz="1100" b="1" dirty="0" smtClean="0">
                <a:solidFill>
                  <a:srgbClr val="00B050"/>
                </a:solidFill>
                <a:latin typeface="Arial"/>
              </a:rPr>
              <a:t>(</a:t>
            </a:r>
            <a:r>
              <a:rPr lang="ru-RU" sz="1100" b="1" dirty="0">
                <a:solidFill>
                  <a:srgbClr val="00B050"/>
                </a:solidFill>
                <a:latin typeface="Arial"/>
              </a:rPr>
              <a:t>Приказ № 1/1134-П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93553" y="2497977"/>
            <a:ext cx="15936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</a:t>
            </a:r>
            <a:b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изм. приказ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916791" y="2513778"/>
            <a:ext cx="17790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614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. </a:t>
            </a:r>
            <a:b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ru-RU" sz="1100" b="1" noProof="0" dirty="0" smtClean="0">
                <a:solidFill>
                  <a:srgbClr val="000000"/>
                </a:solidFill>
                <a:latin typeface="Arial"/>
              </a:rPr>
              <a:t>после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изм. приказ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93096" y="2998908"/>
            <a:ext cx="10246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6149">
              <a:defRPr/>
            </a:pPr>
            <a:r>
              <a:rPr lang="ru-RU" sz="1400" b="1" dirty="0">
                <a:solidFill>
                  <a:srgbClr val="000000"/>
                </a:solidFill>
                <a:latin typeface="Arial"/>
              </a:rPr>
              <a:t>504 </a:t>
            </a:r>
            <a:r>
              <a:rPr lang="ru-RU" sz="1400" b="1" dirty="0" smtClean="0">
                <a:solidFill>
                  <a:srgbClr val="000000"/>
                </a:solidFill>
                <a:latin typeface="Arial"/>
              </a:rPr>
              <a:t>ТЗ/ТУ</a:t>
            </a:r>
            <a:endParaRPr lang="ru-RU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3760415" y="2966376"/>
            <a:ext cx="10246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6149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Arial"/>
              </a:rPr>
              <a:t>687 ТЗ/ТУ</a:t>
            </a:r>
            <a:endParaRPr lang="ru-RU" sz="1400" b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>
            <a:off x="1462736" y="4931838"/>
            <a:ext cx="7061" cy="266023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>
            <a:off x="4242253" y="4934138"/>
            <a:ext cx="11783" cy="263723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A2CCAF1A-2058-7656-2BD0-481B690777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415" y="3708838"/>
            <a:ext cx="307014" cy="307014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0843BE22-6ACB-A10B-4A18-0AC5FAAA68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996" y="4067866"/>
            <a:ext cx="275631" cy="275631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0962F1B7-2C5B-1407-35BE-44EF0C3EFB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996" y="4354871"/>
            <a:ext cx="318127" cy="318127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26B27324-68E9-0BD2-9921-0CD2FEC8CAA1}"/>
              </a:ext>
            </a:extLst>
          </p:cNvPr>
          <p:cNvSpPr txBox="1"/>
          <p:nvPr/>
        </p:nvSpPr>
        <p:spPr>
          <a:xfrm>
            <a:off x="5090102" y="4437093"/>
            <a:ext cx="8410426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скалация -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е порядка согласования 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ТЗ/ТУ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5121683" y="3768830"/>
            <a:ext cx="3512757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ие коллизии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. Арбитраж (КРЭА)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5151438" y="4127989"/>
            <a:ext cx="3332451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КРЭА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 – согласующий </a:t>
            </a:r>
            <a:r>
              <a:rPr lang="ru-RU" sz="125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ЭС </a:t>
            </a:r>
            <a:r>
              <a:rPr lang="ru-RU" sz="1250" b="1" dirty="0">
                <a:latin typeface="Arial" panose="020B0604020202020204" pitchFamily="34" charset="0"/>
                <a:cs typeface="Arial" panose="020B0604020202020204" pitchFamily="34" charset="0"/>
              </a:rPr>
              <a:t>за рубежом</a:t>
            </a:r>
            <a:r>
              <a:rPr lang="ru-RU" sz="125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5242638" y="3268181"/>
            <a:ext cx="2569614" cy="6694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уровня просрочек </a:t>
            </a:r>
          </a:p>
          <a:p>
            <a:pPr fontAlgn="t"/>
            <a:r>
              <a:rPr lang="ru-RU" sz="12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 счет новых инструментов:</a:t>
            </a:r>
          </a:p>
          <a:p>
            <a:pPr fontAlgn="t"/>
            <a:endParaRPr lang="ru-RU" sz="12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5421010" y="5559353"/>
            <a:ext cx="8128000" cy="600164"/>
          </a:xfrm>
          <a:prstGeom prst="rect">
            <a:avLst/>
          </a:prstGeom>
          <a:ln>
            <a:noFill/>
          </a:ln>
        </p:spPr>
        <p:txBody>
          <a:bodyPr>
            <a:spAutoFit/>
          </a:bodyPr>
          <a:lstStyle/>
          <a:p>
            <a:pPr defTabSz="1218669"/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ТЗ/ТУ </a:t>
            </a:r>
            <a:r>
              <a:rPr lang="ru-RU" sz="1100" b="1" dirty="0">
                <a:solidFill>
                  <a:srgbClr val="FF0000"/>
                </a:solidFill>
                <a:latin typeface="Arial"/>
              </a:rPr>
              <a:t>с нарушением </a:t>
            </a:r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latin typeface="Arial"/>
              </a:rPr>
              <a:t> </a:t>
            </a:r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&gt;</a:t>
            </a:r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Arial"/>
              </a:rPr>
              <a:t> </a:t>
            </a:r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30 </a:t>
            </a:r>
            <a:r>
              <a:rPr lang="ru-RU" sz="1100" b="1" dirty="0">
                <a:solidFill>
                  <a:srgbClr val="FF0000"/>
                </a:solidFill>
                <a:latin typeface="Arial"/>
              </a:rPr>
              <a:t>дней </a:t>
            </a:r>
            <a:endParaRPr lang="ru-RU" sz="1100" b="1" dirty="0" smtClean="0">
              <a:solidFill>
                <a:srgbClr val="FF0000"/>
              </a:solidFill>
              <a:latin typeface="Arial"/>
            </a:endParaRPr>
          </a:p>
          <a:p>
            <a:pPr defTabSz="1218669"/>
            <a:r>
              <a:rPr lang="ru-RU" sz="1100" b="1" dirty="0" smtClean="0">
                <a:solidFill>
                  <a:srgbClr val="FF0000"/>
                </a:solidFill>
                <a:latin typeface="Arial"/>
              </a:rPr>
              <a:t>более </a:t>
            </a:r>
            <a:r>
              <a:rPr lang="ru-RU" sz="1100" b="1" dirty="0">
                <a:solidFill>
                  <a:srgbClr val="FF0000"/>
                </a:solidFill>
                <a:latin typeface="Arial"/>
              </a:rPr>
              <a:t>60%. </a:t>
            </a:r>
            <a:endParaRPr lang="ru-RU" sz="1100" b="1" dirty="0" smtClean="0">
              <a:solidFill>
                <a:srgbClr val="FF0000"/>
              </a:solidFill>
              <a:latin typeface="Arial"/>
            </a:endParaRPr>
          </a:p>
          <a:p>
            <a:pPr defTabSz="1218669"/>
            <a:r>
              <a:rPr lang="ru-RU" sz="1100" b="1" dirty="0" smtClean="0">
                <a:latin typeface="Arial"/>
              </a:rPr>
              <a:t>Предлагается продолжить </a:t>
            </a:r>
            <a:r>
              <a:rPr lang="ru-RU" sz="1100" b="1" dirty="0">
                <a:latin typeface="Arial"/>
              </a:rPr>
              <a:t>мониторинг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383376" y="8093864"/>
            <a:ext cx="353623" cy="20256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4" name="Диаграмма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2101080"/>
              </p:ext>
            </p:extLst>
          </p:nvPr>
        </p:nvGraphicFramePr>
        <p:xfrm>
          <a:off x="-403647" y="4672998"/>
          <a:ext cx="3752514" cy="2836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6" name="TextBox 65"/>
          <p:cNvSpPr txBox="1"/>
          <p:nvPr/>
        </p:nvSpPr>
        <p:spPr>
          <a:xfrm>
            <a:off x="1154816" y="5805340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165 </a:t>
            </a:r>
          </a:p>
          <a:p>
            <a:pPr algn="ctr"/>
            <a:r>
              <a:rPr lang="ru-RU" sz="1100" b="1" dirty="0" smtClean="0"/>
              <a:t>(63%)</a:t>
            </a:r>
            <a:endParaRPr lang="ru-RU" sz="1100" b="1" dirty="0"/>
          </a:p>
        </p:txBody>
      </p:sp>
      <p:sp>
        <p:nvSpPr>
          <p:cNvPr id="67" name="TextBox 66"/>
          <p:cNvSpPr txBox="1"/>
          <p:nvPr/>
        </p:nvSpPr>
        <p:spPr>
          <a:xfrm>
            <a:off x="1030400" y="6949659"/>
            <a:ext cx="797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53 </a:t>
            </a:r>
          </a:p>
          <a:p>
            <a:pPr algn="ctr"/>
            <a:r>
              <a:rPr lang="ru-RU" sz="1100" b="1" dirty="0" smtClean="0"/>
              <a:t>(17%)</a:t>
            </a:r>
            <a:endParaRPr lang="ru-RU" sz="11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1109797" y="6551322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61</a:t>
            </a:r>
          </a:p>
          <a:p>
            <a:pPr algn="ctr"/>
            <a:r>
              <a:rPr lang="ru-RU" sz="1100" b="1" dirty="0" smtClean="0"/>
              <a:t>(20%)</a:t>
            </a:r>
            <a:endParaRPr lang="ru-RU" sz="1100" b="1" dirty="0"/>
          </a:p>
        </p:txBody>
      </p:sp>
      <p:graphicFrame>
        <p:nvGraphicFramePr>
          <p:cNvPr id="45" name="Диаграмма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7180590"/>
              </p:ext>
            </p:extLst>
          </p:nvPr>
        </p:nvGraphicFramePr>
        <p:xfrm>
          <a:off x="2480137" y="4230048"/>
          <a:ext cx="3856951" cy="3236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0" name="TextBox 69"/>
          <p:cNvSpPr txBox="1"/>
          <p:nvPr/>
        </p:nvSpPr>
        <p:spPr>
          <a:xfrm>
            <a:off x="3872586" y="6691001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67 </a:t>
            </a:r>
          </a:p>
          <a:p>
            <a:pPr algn="ctr"/>
            <a:r>
              <a:rPr lang="ru-RU" sz="1100" b="1" dirty="0" smtClean="0"/>
              <a:t>(36%)</a:t>
            </a:r>
            <a:endParaRPr lang="ru-RU" sz="11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3852295" y="5946164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59</a:t>
            </a:r>
          </a:p>
          <a:p>
            <a:pPr algn="ctr"/>
            <a:r>
              <a:rPr lang="ru-RU" sz="1100" b="1" dirty="0" smtClean="0"/>
              <a:t>(32%)</a:t>
            </a:r>
            <a:endParaRPr lang="ru-RU" sz="1100" b="1" dirty="0"/>
          </a:p>
        </p:txBody>
      </p:sp>
      <p:sp>
        <p:nvSpPr>
          <p:cNvPr id="71" name="TextBox 70"/>
          <p:cNvSpPr txBox="1"/>
          <p:nvPr/>
        </p:nvSpPr>
        <p:spPr>
          <a:xfrm>
            <a:off x="3872586" y="5332620"/>
            <a:ext cx="72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/>
              <a:t>59 </a:t>
            </a:r>
          </a:p>
          <a:p>
            <a:pPr algn="ctr"/>
            <a:r>
              <a:rPr lang="ru-RU" sz="1100" b="1" dirty="0" smtClean="0"/>
              <a:t>(32%)</a:t>
            </a:r>
            <a:endParaRPr lang="ru-RU" sz="1100" b="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2245625" y="5250484"/>
            <a:ext cx="1353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срочка &gt;60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н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2135988" y="6374416"/>
            <a:ext cx="1610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срочка &gt;30..60  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н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882E471-3894-5E70-3B33-D1C3F4658EFB}"/>
              </a:ext>
            </a:extLst>
          </p:cNvPr>
          <p:cNvSpPr txBox="1"/>
          <p:nvPr/>
        </p:nvSpPr>
        <p:spPr>
          <a:xfrm>
            <a:off x="2264668" y="7057391"/>
            <a:ext cx="1353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срочка &gt;30 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н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авая фигурная скобка 2"/>
          <p:cNvSpPr/>
          <p:nvPr/>
        </p:nvSpPr>
        <p:spPr>
          <a:xfrm>
            <a:off x="5174627" y="5212145"/>
            <a:ext cx="233720" cy="1311859"/>
          </a:xfrm>
          <a:prstGeom prst="righ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780743" y="8016531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огласованы в сроки</a:t>
            </a:r>
            <a:endParaRPr lang="ru-RU" sz="1000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2733852" y="8076024"/>
            <a:ext cx="353623" cy="20256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/>
          <p:cNvSpPr txBox="1"/>
          <p:nvPr/>
        </p:nvSpPr>
        <p:spPr>
          <a:xfrm>
            <a:off x="3166226" y="8013007"/>
            <a:ext cx="1372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ТЗ/ТУ с просрочкой согласования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2941008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Диаграмма 24"/>
          <p:cNvGraphicFramePr/>
          <p:nvPr>
            <p:extLst/>
          </p:nvPr>
        </p:nvGraphicFramePr>
        <p:xfrm>
          <a:off x="291446" y="5176375"/>
          <a:ext cx="7203945" cy="332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477701" y="355627"/>
            <a:ext cx="157645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marR="0" lvl="0" indent="0" defTabSz="685750" latinLnBrk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609568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1219137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82870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2438272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685718">
              <a:defRPr/>
            </a:pPr>
            <a:r>
              <a:rPr lang="ru-RU" dirty="0"/>
              <a:t> Исполнение договоров</a:t>
            </a:r>
          </a:p>
        </p:txBody>
      </p:sp>
      <p:sp>
        <p:nvSpPr>
          <p:cNvPr id="29" name="Номер слайда 1"/>
          <p:cNvSpPr txBox="1">
            <a:spLocks/>
          </p:cNvSpPr>
          <p:nvPr/>
        </p:nvSpPr>
        <p:spPr>
          <a:xfrm>
            <a:off x="15595436" y="8756157"/>
            <a:ext cx="530576" cy="36580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624066" rtl="0" eaLnBrk="1" latinLnBrk="0" hangingPunct="1">
              <a:lnSpc>
                <a:spcPct val="90000"/>
              </a:lnSpc>
              <a:spcBef>
                <a:spcPts val="1776"/>
              </a:spcBef>
              <a:buFont typeface="Arial" pitchFamily="34" charset="0"/>
              <a:buNone/>
              <a:defRPr sz="213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1218049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4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0082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2115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4148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6181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8214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0247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2280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623986" fontAlgn="auto">
              <a:spcAft>
                <a:spcPts val="0"/>
              </a:spcAft>
              <a:defRPr/>
            </a:pPr>
            <a:fld id="{037B8848-BAB9-473E-96A4-9FCDF0D2F1E6}" type="slidenum">
              <a:rPr lang="ru-RU" sz="2600" b="1">
                <a:solidFill>
                  <a:srgbClr val="003274"/>
                </a:solidFill>
                <a:latin typeface="Arial"/>
                <a:ea typeface="+mj-ea"/>
                <a:cs typeface="Arial"/>
              </a:rPr>
              <a:pPr algn="ctr" defTabSz="1623986" fontAlgn="auto">
                <a:spcAft>
                  <a:spcPts val="0"/>
                </a:spcAft>
                <a:defRPr/>
              </a:pPr>
              <a:t>3</a:t>
            </a:fld>
            <a:endParaRPr lang="ru-RU" sz="2600" b="1" dirty="0">
              <a:solidFill>
                <a:srgbClr val="003274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-738099" y="4641166"/>
            <a:ext cx="8900257" cy="7906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911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исполнение договоров в разрезе дивизионов,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9071" y="901747"/>
            <a:ext cx="7442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исполнение договоров по отрасли, 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по сумме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334219" y="8173573"/>
            <a:ext cx="343911" cy="2846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7620891" y="8413862"/>
            <a:ext cx="5433823" cy="28742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219050" eaLnBrk="1" hangingPunct="1">
              <a:defRPr/>
            </a:pPr>
            <a:endParaRPr lang="ru-RU" sz="1400" b="1" dirty="0">
              <a:solidFill>
                <a:srgbClr val="FF0000"/>
              </a:solidFill>
              <a:latin typeface="Calibri"/>
              <a:cs typeface="Arial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980191" y="8586880"/>
            <a:ext cx="19516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267977" y="8586880"/>
            <a:ext cx="1580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2481551" y="8641855"/>
            <a:ext cx="457200" cy="228600"/>
          </a:xfrm>
          <a:prstGeom prst="rect">
            <a:avLst/>
          </a:prstGeom>
          <a:solidFill>
            <a:srgbClr val="003274">
              <a:lumMod val="20000"/>
              <a:lumOff val="8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i="1" kern="0">
              <a:solidFill>
                <a:srgbClr val="414142"/>
              </a:solidFill>
              <a:latin typeface="Arial" charset="0"/>
              <a:cs typeface="Arial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4685329" y="8641855"/>
            <a:ext cx="457200" cy="228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i="1" kern="0">
              <a:solidFill>
                <a:srgbClr val="414142"/>
              </a:solidFill>
              <a:latin typeface="Arial" charset="0"/>
              <a:cs typeface="Arial"/>
            </a:endParaRPr>
          </a:p>
        </p:txBody>
      </p:sp>
      <p:sp>
        <p:nvSpPr>
          <p:cNvPr id="53" name="TextBox 46"/>
          <p:cNvSpPr txBox="1">
            <a:spLocks noChangeArrowheads="1"/>
          </p:cNvSpPr>
          <p:nvPr/>
        </p:nvSpPr>
        <p:spPr bwMode="auto">
          <a:xfrm>
            <a:off x="206175" y="8842422"/>
            <a:ext cx="11297663" cy="35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2529" tIns="56265" rIns="112529" bIns="56265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kumimoji="1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kumimoji="1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kumimoji="1"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1219110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ru-RU" altLang="ru-RU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Данные предоставлены по предприятиям, в которых внедрены и интегрированы корпоративные учетные системы</a:t>
            </a:r>
          </a:p>
        </p:txBody>
      </p:sp>
      <p:graphicFrame>
        <p:nvGraphicFramePr>
          <p:cNvPr id="34" name="Диаграмма 33"/>
          <p:cNvGraphicFramePr>
            <a:graphicFrameLocks/>
          </p:cNvGraphicFramePr>
          <p:nvPr>
            <p:extLst/>
          </p:nvPr>
        </p:nvGraphicFramePr>
        <p:xfrm>
          <a:off x="-863600" y="1414579"/>
          <a:ext cx="8484491" cy="3426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713000" y="1301857"/>
            <a:ext cx="594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Это – по КС «Поставка» и «Этап выполнения работ» (своевременность поставок)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88938" y="3591543"/>
            <a:ext cx="751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- С </a:t>
            </a:r>
            <a:r>
              <a:rPr lang="ru-RU" b="1" dirty="0" err="1" smtClean="0">
                <a:solidFill>
                  <a:srgbClr val="FF0000"/>
                </a:solidFill>
              </a:rPr>
              <a:t>категорийными</a:t>
            </a:r>
            <a:r>
              <a:rPr lang="ru-RU" b="1" dirty="0" smtClean="0">
                <a:solidFill>
                  <a:srgbClr val="FF0000"/>
                </a:solidFill>
              </a:rPr>
              <a:t> стратегиями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993000" y="2907000"/>
            <a:ext cx="7245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+ аналогичные графики:</a:t>
            </a:r>
          </a:p>
          <a:p>
            <a:pPr marL="342900" indent="-342900">
              <a:buAutoNum type="arabicPeriod"/>
            </a:pPr>
            <a:r>
              <a:rPr lang="ru-RU" dirty="0" smtClean="0"/>
              <a:t>исполнение поставщиками, у которых работает ПСР (по статусом: в работе или «проект завершен»)</a:t>
            </a:r>
          </a:p>
          <a:p>
            <a:pPr marL="342900" indent="-342900">
              <a:buAutoNum type="arabicPeriod"/>
            </a:pPr>
            <a:r>
              <a:rPr lang="ru-RU" dirty="0" smtClean="0"/>
              <a:t>исполнение с КС по направлению «</a:t>
            </a:r>
            <a:r>
              <a:rPr lang="ru-RU" dirty="0" err="1" smtClean="0"/>
              <a:t>Атомплан</a:t>
            </a:r>
            <a:r>
              <a:rPr lang="ru-RU" dirty="0" smtClean="0"/>
              <a:t>»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9076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"/>
          <p:cNvSpPr txBox="1">
            <a:spLocks/>
          </p:cNvSpPr>
          <p:nvPr/>
        </p:nvSpPr>
        <p:spPr bwMode="auto">
          <a:xfrm>
            <a:off x="355600" y="78058"/>
            <a:ext cx="13579183" cy="98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lvl="0" indent="0" defTabSz="1624026" eaLnBrk="1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defRPr>
            </a:lvl1pPr>
            <a:lvl2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609585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121917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828754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2438339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16240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Исполняемость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charset="0"/>
                <a:cs typeface="Arial" charset="0"/>
              </a:rPr>
              <a:t> договоров крупнейшими поставщиками*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2" name="Номер слайда 1"/>
          <p:cNvSpPr txBox="1">
            <a:spLocks/>
          </p:cNvSpPr>
          <p:nvPr/>
        </p:nvSpPr>
        <p:spPr>
          <a:xfrm>
            <a:off x="15443200" y="8598462"/>
            <a:ext cx="530576" cy="36580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624066" rtl="0" eaLnBrk="1" latinLnBrk="0" hangingPunct="1">
              <a:lnSpc>
                <a:spcPct val="90000"/>
              </a:lnSpc>
              <a:spcBef>
                <a:spcPts val="1776"/>
              </a:spcBef>
              <a:buFont typeface="Arial" pitchFamily="34" charset="0"/>
              <a:buNone/>
              <a:defRPr sz="213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1218049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4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0082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2115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4148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6181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8214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0247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2280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624026" rtl="0" eaLnBrk="1" fontAlgn="auto" latinLnBrk="0" hangingPunct="1">
              <a:lnSpc>
                <a:spcPct val="90000"/>
              </a:lnSpc>
              <a:spcBef>
                <a:spcPts val="1776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8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0040" y="7586114"/>
            <a:ext cx="1470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*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По поставщикам, которые в 2021 г заключили договоров на сумму больше 1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млрд.р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(103 отраслевых, 112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неотраслевых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). По данным ЕОС – Закупки, по заказчикам, имеющим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интеграцию ЕОС – Закупки и учетных систем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dirty="0" smtClean="0">
                <a:solidFill>
                  <a:prstClr val="black"/>
                </a:solidFill>
              </a:rPr>
              <a:t>** </a:t>
            </a:r>
            <a:r>
              <a:rPr lang="ru-RU" dirty="0" smtClean="0">
                <a:solidFill>
                  <a:prstClr val="black"/>
                </a:solidFill>
              </a:rPr>
              <a:t>Данные отсутствуют</a:t>
            </a:r>
            <a:endParaRPr lang="en-US" dirty="0" smtClean="0">
              <a:solidFill>
                <a:prstClr val="black"/>
              </a:solidFill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-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Срок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исполнения не наступил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5600" y="2830313"/>
            <a:ext cx="155975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Крупнейшие поставщики (ТОП 10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3022601" y="1193238"/>
          <a:ext cx="9817254" cy="11689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31786">
                  <a:extLst>
                    <a:ext uri="{9D8B030D-6E8A-4147-A177-3AD203B41FA5}">
                      <a16:colId xmlns:a16="http://schemas.microsoft.com/office/drawing/2014/main" val="1051370325"/>
                    </a:ext>
                  </a:extLst>
                </a:gridCol>
                <a:gridCol w="1995156">
                  <a:extLst>
                    <a:ext uri="{9D8B030D-6E8A-4147-A177-3AD203B41FA5}">
                      <a16:colId xmlns:a16="http://schemas.microsoft.com/office/drawing/2014/main" val="1286225192"/>
                    </a:ext>
                  </a:extLst>
                </a:gridCol>
                <a:gridCol w="1995156">
                  <a:extLst>
                    <a:ext uri="{9D8B030D-6E8A-4147-A177-3AD203B41FA5}">
                      <a16:colId xmlns:a16="http://schemas.microsoft.com/office/drawing/2014/main" val="658446129"/>
                    </a:ext>
                  </a:extLst>
                </a:gridCol>
                <a:gridCol w="1995156">
                  <a:extLst>
                    <a:ext uri="{9D8B030D-6E8A-4147-A177-3AD203B41FA5}">
                      <a16:colId xmlns:a16="http://schemas.microsoft.com/office/drawing/2014/main" val="697502849"/>
                    </a:ext>
                  </a:extLst>
                </a:gridCol>
              </a:tblGrid>
              <a:tr h="3896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 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2019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020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2021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31337366"/>
                  </a:ext>
                </a:extLst>
              </a:tr>
              <a:tr h="389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отраслевые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68,0%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76,7%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73,0%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95681598"/>
                  </a:ext>
                </a:extLst>
              </a:tr>
              <a:tr h="3896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effectLst/>
                        </a:rPr>
                        <a:t>неотраслевые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67,4%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77,6%</a:t>
                      </a:r>
                      <a:endParaRPr lang="ru-RU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99,0%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10349388"/>
                  </a:ext>
                </a:extLst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76274" y="3262358"/>
          <a:ext cx="7599326" cy="393346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22514">
                  <a:extLst>
                    <a:ext uri="{9D8B030D-6E8A-4147-A177-3AD203B41FA5}">
                      <a16:colId xmlns:a16="http://schemas.microsoft.com/office/drawing/2014/main" val="3625676016"/>
                    </a:ext>
                  </a:extLst>
                </a:gridCol>
                <a:gridCol w="1876612">
                  <a:extLst>
                    <a:ext uri="{9D8B030D-6E8A-4147-A177-3AD203B41FA5}">
                      <a16:colId xmlns:a16="http://schemas.microsoft.com/office/drawing/2014/main" val="2993031334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1365670055"/>
                    </a:ext>
                  </a:extLst>
                </a:gridCol>
              </a:tblGrid>
              <a:tr h="746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раслевые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умма заключенных в 2021 г. договоров,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effectLst/>
                        </a:rPr>
                        <a:t>тыс</a:t>
                      </a:r>
                      <a:r>
                        <a:rPr lang="ru-RU" sz="1400" u="none" strike="noStrike" dirty="0">
                          <a:effectLst/>
                        </a:rPr>
                        <a:t>.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%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исполняемости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(все договоры)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14525093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Атомное </a:t>
                      </a:r>
                      <a:r>
                        <a:rPr lang="ru-RU" sz="1600" b="0" u="none" strike="noStrike" dirty="0">
                          <a:effectLst/>
                        </a:rPr>
                        <a:t>и энергетическое </a:t>
                      </a:r>
                      <a:r>
                        <a:rPr lang="ru-RU" sz="1600" b="0" u="none" strike="noStrike" dirty="0" smtClean="0">
                          <a:effectLst/>
                        </a:rPr>
                        <a:t>машиностроение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16 609 354,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 smtClean="0">
                          <a:effectLst/>
                        </a:rPr>
                        <a:t>10</a:t>
                      </a:r>
                      <a:r>
                        <a:rPr lang="ru-RU" sz="1600" b="0" u="none" strike="noStrike" dirty="0" smtClean="0">
                          <a:effectLst/>
                        </a:rPr>
                        <a:t>0</a:t>
                      </a:r>
                      <a:r>
                        <a:rPr lang="ru-RU" sz="1600" b="0" u="none" strike="noStrike" dirty="0">
                          <a:effectLst/>
                        </a:rPr>
                        <a:t>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22448247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ОКБМ</a:t>
                      </a:r>
                      <a:r>
                        <a:rPr lang="ru-RU" sz="1600" b="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600" b="0" u="none" strike="noStrike" dirty="0" smtClean="0">
                          <a:effectLst/>
                        </a:rPr>
                        <a:t>имени </a:t>
                      </a:r>
                      <a:r>
                        <a:rPr lang="ru-RU" sz="1600" b="0" u="none" strike="noStrike" dirty="0">
                          <a:effectLst/>
                        </a:rPr>
                        <a:t>И.И. </a:t>
                      </a:r>
                      <a:r>
                        <a:rPr lang="ru-RU" sz="1600" b="0" u="none" strike="noStrike" dirty="0" smtClean="0">
                          <a:effectLst/>
                        </a:rPr>
                        <a:t>Африкантов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78 750 277,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96,1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59747355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КОНЦЕРН ТИТАН-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75 084 578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56,7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73583193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ТВЭЛ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66 401 242,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9,5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32662361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Машиностроительный завод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8 567 869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97,1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99565554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err="1" smtClean="0">
                          <a:effectLst/>
                        </a:rPr>
                        <a:t>Атомэнергопроект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6 794 339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36,6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75531232"/>
                  </a:ext>
                </a:extLst>
              </a:tr>
              <a:tr h="57072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Центральное конструкторское бюро машиностроен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2 039 037,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8,5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98325297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smtClean="0">
                          <a:effectLst/>
                        </a:rPr>
                        <a:t>ВНИИА Духов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20 508 837,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7,5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78766570"/>
                  </a:ext>
                </a:extLst>
              </a:tr>
              <a:tr h="2890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err="1" smtClean="0">
                          <a:effectLst/>
                        </a:rPr>
                        <a:t>Волгодонское</a:t>
                      </a:r>
                      <a:r>
                        <a:rPr lang="ru-RU" sz="1600" b="0" u="none" strike="noStrike" dirty="0" smtClean="0">
                          <a:effectLst/>
                        </a:rPr>
                        <a:t> </a:t>
                      </a:r>
                      <a:r>
                        <a:rPr lang="ru-RU" sz="1600" b="0" u="none" strike="noStrike" dirty="0">
                          <a:effectLst/>
                        </a:rPr>
                        <a:t>Монтажное </a:t>
                      </a:r>
                      <a:r>
                        <a:rPr lang="ru-RU" sz="1600" b="0" u="none" strike="noStrike" dirty="0" smtClean="0">
                          <a:effectLst/>
                        </a:rPr>
                        <a:t>Управление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17 138 679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4,7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80422499"/>
                  </a:ext>
                </a:extLst>
              </a:tr>
              <a:tr h="30370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 err="1" smtClean="0">
                          <a:effectLst/>
                        </a:rPr>
                        <a:t>Атомтехэнерго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</a:rPr>
                        <a:t>16 317 296,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 smtClean="0">
                          <a:effectLst/>
                        </a:rPr>
                        <a:t>81,9%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3660945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8432800" y="3262358"/>
          <a:ext cx="7520303" cy="39334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38600">
                  <a:extLst>
                    <a:ext uri="{9D8B030D-6E8A-4147-A177-3AD203B41FA5}">
                      <a16:colId xmlns:a16="http://schemas.microsoft.com/office/drawing/2014/main" val="3145137739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920940827"/>
                    </a:ext>
                  </a:extLst>
                </a:gridCol>
                <a:gridCol w="1652903">
                  <a:extLst>
                    <a:ext uri="{9D8B030D-6E8A-4147-A177-3AD203B41FA5}">
                      <a16:colId xmlns:a16="http://schemas.microsoft.com/office/drawing/2014/main" val="2801832316"/>
                    </a:ext>
                  </a:extLst>
                </a:gridCol>
              </a:tblGrid>
              <a:tr h="700042"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400" b="1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траслевые</a:t>
                      </a:r>
                      <a:endParaRPr lang="ru-RU" sz="14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умма заключенных в 2021 г. договоров,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effectLst/>
                        </a:rPr>
                        <a:t>тыс.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%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исполняемости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(все договоры)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49530642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лектросевкавмонтаж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 688 036,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,3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60425074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лэнергомаш</a:t>
                      </a:r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БЗЭМ</a:t>
                      </a:r>
                      <a:endParaRPr lang="en-US" sz="16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624026" rtl="0" eaLnBrk="1" fontAlgn="b" latinLnBrk="0" hangingPunct="1"/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 041 353,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6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7093303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 İÇTAŞ TSM ADİ ORTAKLIĞI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654 908,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70520943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ЭПТ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 424 861,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,9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6506395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раматом</a:t>
                      </a:r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АС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 010 426,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75344939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лтийский завод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023 174,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34190521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рчатовский институт</a:t>
                      </a:r>
                      <a:endParaRPr lang="en-US" sz="16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624026" rtl="0" eaLnBrk="1" fontAlgn="b" latinLnBrk="0" hangingPunct="1"/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570 595,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3%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3687942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енсма</a:t>
                      </a:r>
                      <a:endParaRPr lang="en-US" sz="16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624026" rtl="0" eaLnBrk="1" fontAlgn="b" latinLnBrk="0" hangingPunct="1"/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 595 686,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7310637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од </a:t>
                      </a:r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иров-</a:t>
                      </a:r>
                      <a:r>
                        <a:rPr lang="ru-RU" sz="16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нергомаш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500 000,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72230065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1624026" rtl="0" eaLnBrk="1" fontAlgn="b" latinLnBrk="0" hangingPunct="1"/>
                      <a:r>
                        <a:rPr lang="ru-RU" sz="1600" b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ссан</a:t>
                      </a:r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ллам </a:t>
                      </a:r>
                      <a:r>
                        <a:rPr lang="ru-RU" sz="1600" b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стракшен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829 099,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624026" rtl="0" eaLnBrk="1" fontAlgn="b" latinLnBrk="0" hangingPunct="1"/>
                      <a:r>
                        <a:rPr lang="ru-RU" sz="16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6519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653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2"/>
          <p:cNvSpPr txBox="1">
            <a:spLocks/>
          </p:cNvSpPr>
          <p:nvPr/>
        </p:nvSpPr>
        <p:spPr>
          <a:xfrm>
            <a:off x="492609" y="634958"/>
            <a:ext cx="11744441" cy="586479"/>
          </a:xfrm>
          <a:prstGeom prst="rect">
            <a:avLst/>
          </a:prstGeom>
        </p:spPr>
        <p:txBody>
          <a:bodyPr anchor="ctr"/>
          <a:lstStyle>
            <a:lvl1pPr algn="l" defTabSz="1624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1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нение КПЭ</a:t>
            </a:r>
          </a:p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Повышение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сполняемости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договоров», от 100 млн руб.*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244634" y="1430473"/>
          <a:ext cx="9975530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5106">
                  <a:extLst>
                    <a:ext uri="{9D8B030D-6E8A-4147-A177-3AD203B41FA5}">
                      <a16:colId xmlns:a16="http://schemas.microsoft.com/office/drawing/2014/main" val="1775932394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624031948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2823464793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734631877"/>
                    </a:ext>
                  </a:extLst>
                </a:gridCol>
                <a:gridCol w="1995106">
                  <a:extLst>
                    <a:ext uri="{9D8B030D-6E8A-4147-A177-3AD203B41FA5}">
                      <a16:colId xmlns:a16="http://schemas.microsoft.com/office/drawing/2014/main" val="2975639157"/>
                    </a:ext>
                  </a:extLst>
                </a:gridCol>
              </a:tblGrid>
              <a:tr h="1553957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Общее количество КС до конца года*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Общее количество КС на дату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Количество КС исполненных в срок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Количество КС  не исполненных в срок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Фактическое значение доли КС, выполненных в срок, %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952411"/>
                  </a:ext>
                </a:extLst>
              </a:tr>
              <a:tr h="73204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18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88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81,82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(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НУ)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3378681"/>
                  </a:ext>
                </a:extLst>
              </a:tr>
            </a:tbl>
          </a:graphicData>
        </a:graphic>
      </p:graphicFrame>
      <p:graphicFrame>
        <p:nvGraphicFramePr>
          <p:cNvPr id="9" name="Диаграмма 8"/>
          <p:cNvGraphicFramePr/>
          <p:nvPr>
            <p:extLst/>
          </p:nvPr>
        </p:nvGraphicFramePr>
        <p:xfrm>
          <a:off x="10443275" y="1221437"/>
          <a:ext cx="5786033" cy="5377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36600" y="3741273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ЦУ </a:t>
            </a:r>
            <a:r>
              <a:rPr lang="ru-RU" sz="1400" b="1" dirty="0" smtClean="0">
                <a:solidFill>
                  <a:srgbClr val="002060"/>
                </a:solidFill>
              </a:rPr>
              <a:t>9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64789" y="4337757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НУ </a:t>
            </a:r>
            <a:r>
              <a:rPr lang="ru-RU" sz="1400" b="1" dirty="0" smtClean="0">
                <a:solidFill>
                  <a:srgbClr val="002060"/>
                </a:solidFill>
              </a:rPr>
              <a:t>8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graphicFrame>
        <p:nvGraphicFramePr>
          <p:cNvPr id="8" name="Диаграмма 7"/>
          <p:cNvGraphicFramePr/>
          <p:nvPr>
            <p:extLst/>
          </p:nvPr>
        </p:nvGraphicFramePr>
        <p:xfrm>
          <a:off x="1193799" y="3651492"/>
          <a:ext cx="8077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889000" y="4663506"/>
            <a:ext cx="8381999" cy="22193"/>
          </a:xfrm>
          <a:prstGeom prst="line">
            <a:avLst/>
          </a:prstGeom>
          <a:ln w="28575">
            <a:solidFill>
              <a:srgbClr val="F18C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V="1">
            <a:off x="736600" y="4048669"/>
            <a:ext cx="8534399" cy="40546"/>
          </a:xfrm>
          <a:prstGeom prst="line">
            <a:avLst/>
          </a:prstGeom>
          <a:ln w="28575">
            <a:solidFill>
              <a:srgbClr val="00B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0" y="8780776"/>
            <a:ext cx="2855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по состоянию на </a:t>
            </a:r>
            <a:r>
              <a:rPr lang="en-US" dirty="0" smtClean="0"/>
              <a:t>20.09.22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08919" y="8763000"/>
            <a:ext cx="4305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</a:t>
            </a:r>
            <a:r>
              <a:rPr lang="ru-RU" dirty="0"/>
              <a:t>п</a:t>
            </a:r>
            <a:r>
              <a:rPr lang="ru-RU" dirty="0" smtClean="0"/>
              <a:t>о заключенным договорам на</a:t>
            </a:r>
            <a:r>
              <a:rPr lang="en-US" dirty="0" smtClean="0"/>
              <a:t>20</a:t>
            </a:r>
            <a:r>
              <a:rPr lang="ru-RU" dirty="0" smtClean="0"/>
              <a:t>.09.22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918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2"/>
          <p:cNvSpPr txBox="1">
            <a:spLocks/>
          </p:cNvSpPr>
          <p:nvPr/>
        </p:nvSpPr>
        <p:spPr>
          <a:xfrm>
            <a:off x="492609" y="634958"/>
            <a:ext cx="11744441" cy="586479"/>
          </a:xfrm>
          <a:prstGeom prst="rect">
            <a:avLst/>
          </a:prstGeom>
        </p:spPr>
        <p:txBody>
          <a:bodyPr anchor="ctr"/>
          <a:lstStyle>
            <a:lvl1pPr algn="l" defTabSz="1624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1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нение КПЭ</a:t>
            </a:r>
          </a:p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Повышение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сполняемости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договоров», от 100 млн руб.*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36145" y="1430473"/>
          <a:ext cx="8643084" cy="7065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855">
                  <a:extLst>
                    <a:ext uri="{9D8B030D-6E8A-4147-A177-3AD203B41FA5}">
                      <a16:colId xmlns:a16="http://schemas.microsoft.com/office/drawing/2014/main" val="1492048084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77593239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624031948"/>
                    </a:ext>
                  </a:extLst>
                </a:gridCol>
                <a:gridCol w="1632601">
                  <a:extLst>
                    <a:ext uri="{9D8B030D-6E8A-4147-A177-3AD203B41FA5}">
                      <a16:colId xmlns:a16="http://schemas.microsoft.com/office/drawing/2014/main" val="2823464793"/>
                    </a:ext>
                  </a:extLst>
                </a:gridCol>
                <a:gridCol w="1262999">
                  <a:extLst>
                    <a:ext uri="{9D8B030D-6E8A-4147-A177-3AD203B41FA5}">
                      <a16:colId xmlns:a16="http://schemas.microsoft.com/office/drawing/2014/main" val="734631877"/>
                    </a:ext>
                  </a:extLst>
                </a:gridCol>
                <a:gridCol w="1618029">
                  <a:extLst>
                    <a:ext uri="{9D8B030D-6E8A-4147-A177-3AD203B41FA5}">
                      <a16:colId xmlns:a16="http://schemas.microsoft.com/office/drawing/2014/main" val="2975639157"/>
                    </a:ext>
                  </a:extLst>
                </a:gridCol>
              </a:tblGrid>
              <a:tr h="164396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Дивизион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Общее количество КС до конца года*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Общее количество КС на дату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Количество КС исполненных в срок</a:t>
                      </a:r>
                      <a:endParaRPr lang="en-US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Количество КС  не исполненных в срок</a:t>
                      </a:r>
                      <a:endParaRPr lang="en-US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Фактическое значение доли КС, выполненных в срок, %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952411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Итого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18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88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81,82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002060"/>
                          </a:solidFill>
                        </a:rPr>
                        <a:t>(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НУ)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3378681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АЭМ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6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66,6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9446599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ЯОК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5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03464765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КРЭА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9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0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5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7668471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АСЭ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4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0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5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3,3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558208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АРМЗ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3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1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2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4,6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84058222"/>
                  </a:ext>
                </a:extLst>
              </a:tr>
              <a:tr h="774442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ТВЭЛ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7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7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en-US" sz="18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87,5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462206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751038" y="1604470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ЦУ </a:t>
            </a:r>
            <a:r>
              <a:rPr lang="ru-RU" sz="1400" b="1" dirty="0" smtClean="0">
                <a:solidFill>
                  <a:srgbClr val="002060"/>
                </a:solidFill>
              </a:rPr>
              <a:t>9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679227" y="2200954"/>
            <a:ext cx="842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НУ </a:t>
            </a:r>
            <a:r>
              <a:rPr lang="ru-RU" sz="1400" b="1" dirty="0" smtClean="0">
                <a:solidFill>
                  <a:srgbClr val="002060"/>
                </a:solidFill>
              </a:rPr>
              <a:t>80</a:t>
            </a:r>
            <a:r>
              <a:rPr lang="ru-RU" sz="1400" b="1" dirty="0">
                <a:solidFill>
                  <a:srgbClr val="002060"/>
                </a:solidFill>
              </a:rPr>
              <a:t>%</a:t>
            </a:r>
          </a:p>
        </p:txBody>
      </p:sp>
      <p:graphicFrame>
        <p:nvGraphicFramePr>
          <p:cNvPr id="8" name="Диаграмма 7"/>
          <p:cNvGraphicFramePr/>
          <p:nvPr>
            <p:extLst/>
          </p:nvPr>
        </p:nvGraphicFramePr>
        <p:xfrm>
          <a:off x="8548302" y="1562565"/>
          <a:ext cx="8077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8703425" y="2550635"/>
            <a:ext cx="7692291" cy="40165"/>
          </a:xfrm>
          <a:prstGeom prst="line">
            <a:avLst/>
          </a:prstGeom>
          <a:ln w="28575">
            <a:solidFill>
              <a:srgbClr val="F18C4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8810614" y="1929987"/>
            <a:ext cx="7445386" cy="12878"/>
          </a:xfrm>
          <a:prstGeom prst="line">
            <a:avLst/>
          </a:prstGeom>
          <a:ln w="28575">
            <a:solidFill>
              <a:srgbClr val="00B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0" y="8780776"/>
            <a:ext cx="28559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по состоянию на </a:t>
            </a:r>
            <a:r>
              <a:rPr lang="en-US" dirty="0" smtClean="0"/>
              <a:t>20.09.22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08919" y="8763000"/>
            <a:ext cx="4305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</a:t>
            </a:r>
            <a:r>
              <a:rPr lang="ru-RU" dirty="0"/>
              <a:t>п</a:t>
            </a:r>
            <a:r>
              <a:rPr lang="ru-RU" dirty="0" smtClean="0"/>
              <a:t>о заключенным договорам на</a:t>
            </a:r>
            <a:r>
              <a:rPr lang="en-US" dirty="0" smtClean="0"/>
              <a:t>20</a:t>
            </a:r>
            <a:r>
              <a:rPr lang="ru-RU" dirty="0" smtClean="0"/>
              <a:t>.09.22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5951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2"/>
          <p:cNvSpPr txBox="1">
            <a:spLocks/>
          </p:cNvSpPr>
          <p:nvPr/>
        </p:nvSpPr>
        <p:spPr>
          <a:xfrm>
            <a:off x="492609" y="634958"/>
            <a:ext cx="11744441" cy="586479"/>
          </a:xfrm>
          <a:prstGeom prst="rect">
            <a:avLst/>
          </a:prstGeom>
        </p:spPr>
        <p:txBody>
          <a:bodyPr anchor="ctr"/>
          <a:lstStyle>
            <a:lvl1pPr algn="l" defTabSz="1624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14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сполнение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ПЭ. </a:t>
            </a:r>
          </a:p>
          <a:p>
            <a:pPr fontAlgn="auto">
              <a:spcAft>
                <a:spcPts val="0"/>
              </a:spcAft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сполняемости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договоров», от 100 млн руб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0" y="1474232"/>
          <a:ext cx="16255999" cy="6147360"/>
        </p:xfrm>
        <a:graphic>
          <a:graphicData uri="http://schemas.openxmlformats.org/drawingml/2006/table">
            <a:tbl>
              <a:tblPr/>
              <a:tblGrid>
                <a:gridCol w="1364301">
                  <a:extLst>
                    <a:ext uri="{9D8B030D-6E8A-4147-A177-3AD203B41FA5}">
                      <a16:colId xmlns:a16="http://schemas.microsoft.com/office/drawing/2014/main" val="1515901157"/>
                    </a:ext>
                  </a:extLst>
                </a:gridCol>
                <a:gridCol w="1364301">
                  <a:extLst>
                    <a:ext uri="{9D8B030D-6E8A-4147-A177-3AD203B41FA5}">
                      <a16:colId xmlns:a16="http://schemas.microsoft.com/office/drawing/2014/main" val="1434447509"/>
                    </a:ext>
                  </a:extLst>
                </a:gridCol>
                <a:gridCol w="1040569">
                  <a:extLst>
                    <a:ext uri="{9D8B030D-6E8A-4147-A177-3AD203B41FA5}">
                      <a16:colId xmlns:a16="http://schemas.microsoft.com/office/drawing/2014/main" val="1021191460"/>
                    </a:ext>
                  </a:extLst>
                </a:gridCol>
                <a:gridCol w="2774850">
                  <a:extLst>
                    <a:ext uri="{9D8B030D-6E8A-4147-A177-3AD203B41FA5}">
                      <a16:colId xmlns:a16="http://schemas.microsoft.com/office/drawing/2014/main" val="1570916925"/>
                    </a:ext>
                  </a:extLst>
                </a:gridCol>
                <a:gridCol w="1547846">
                  <a:extLst>
                    <a:ext uri="{9D8B030D-6E8A-4147-A177-3AD203B41FA5}">
                      <a16:colId xmlns:a16="http://schemas.microsoft.com/office/drawing/2014/main" val="120790353"/>
                    </a:ext>
                  </a:extLst>
                </a:gridCol>
                <a:gridCol w="2718487">
                  <a:extLst>
                    <a:ext uri="{9D8B030D-6E8A-4147-A177-3AD203B41FA5}">
                      <a16:colId xmlns:a16="http://schemas.microsoft.com/office/drawing/2014/main" val="3178584233"/>
                    </a:ext>
                  </a:extLst>
                </a:gridCol>
                <a:gridCol w="1283368">
                  <a:extLst>
                    <a:ext uri="{9D8B030D-6E8A-4147-A177-3AD203B41FA5}">
                      <a16:colId xmlns:a16="http://schemas.microsoft.com/office/drawing/2014/main" val="2782769145"/>
                    </a:ext>
                  </a:extLst>
                </a:gridCol>
                <a:gridCol w="1734282">
                  <a:extLst>
                    <a:ext uri="{9D8B030D-6E8A-4147-A177-3AD203B41FA5}">
                      <a16:colId xmlns:a16="http://schemas.microsoft.com/office/drawing/2014/main" val="403924796"/>
                    </a:ext>
                  </a:extLst>
                </a:gridCol>
                <a:gridCol w="1179312">
                  <a:extLst>
                    <a:ext uri="{9D8B030D-6E8A-4147-A177-3AD203B41FA5}">
                      <a16:colId xmlns:a16="http://schemas.microsoft.com/office/drawing/2014/main" val="485533918"/>
                    </a:ext>
                  </a:extLst>
                </a:gridCol>
                <a:gridCol w="1248683">
                  <a:extLst>
                    <a:ext uri="{9D8B030D-6E8A-4147-A177-3AD203B41FA5}">
                      <a16:colId xmlns:a16="http://schemas.microsoft.com/office/drawing/2014/main" val="1971108997"/>
                    </a:ext>
                  </a:extLst>
                </a:gridCol>
              </a:tblGrid>
              <a:tr h="6242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ивизион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я - заказчик закупки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омер позиции закупки по ГПЗ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едмет закупки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умма, млн руб.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нтрагент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ата договор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К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лановая дата исполнения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Фактическая дата исполнения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877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64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917260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ЭМ</a:t>
                      </a:r>
                      <a:endParaRPr lang="ru-RU" sz="1400" b="1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АТМ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266/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 комплекта трубопроводов для </a:t>
                      </a:r>
                      <a:b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ЭБ 3,4,5,6 </a:t>
                      </a:r>
                      <a:b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ЭС </a:t>
                      </a:r>
                      <a:r>
                        <a:rPr lang="ru-RU" sz="14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уданкулам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1 510,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</a:t>
                      </a:r>
                      <a:r>
                        <a:rPr lang="ru-RU" sz="1400" b="0" i="0" u="none" strike="noStrike" dirty="0" err="1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Ракитянский</a:t>
                      </a: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b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рматурный Завод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1.02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30.06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2590385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Э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ЦКБМ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934/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Разработка РКД, изготовление и поставка компрессоров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31,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ОО "ФИНАНСОВО-ПРОИЗВОДСТВЕННАЯ КОМПАНИЯ В АТОМНОЙ ЭНЕРГЕТИКЕ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.06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30.08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441979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ЯО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ФЦНИВТ "СНПО "Элерон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11/2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 инженерных средств физической защиты (ограждения, ворота, калитки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01,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АО "НЭПТ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29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9.05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069689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Концерн Росэнергоатом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383/3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 фильтров-адсорберов, Ростовская АЭ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2,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Прогресс-Экология</a:t>
                      </a:r>
                      <a:r>
                        <a:rPr lang="ru-RU" sz="1400" b="0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5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1.07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.08.2022</a:t>
                      </a:r>
                      <a:r>
                        <a:rPr lang="ru-RU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1608907"/>
                  </a:ext>
                </a:extLst>
              </a:tr>
              <a:tr h="513855"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Концерн Росэнергоатом</a:t>
                      </a: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967/47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 комплекта деталей облицовки БВ-2, </a:t>
                      </a:r>
                      <a:b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Белоярская АЭС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8,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"ГРУППА МАШИНОСТРОИТЕЛЬНЫХ ЗАВОДОВ "ХИММАШ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.06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558540"/>
                  </a:ext>
                </a:extLst>
              </a:tr>
              <a:tr h="513855"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.08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806461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Концерн Титан-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775/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Грузоподъемное оборудование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157,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ОО "РАЦИОНАЛЬНАЯ ЭНЕРГИЯ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  <a:endParaRPr lang="ru-RU" sz="1400" b="0" i="0" u="none" strike="noStrike" kern="1200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8.09.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546783"/>
                  </a:ext>
                </a:extLst>
              </a:tr>
              <a:tr h="513855"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КРЭ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О Концерн Титан-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775/3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оставка оборудования оснащения арматурного хозяйства для организация </a:t>
                      </a:r>
                      <a:b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СМБ АЭС "Эль-</a:t>
                      </a:r>
                      <a:r>
                        <a:rPr lang="ru-RU" sz="14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Дабаа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38,9</a:t>
                      </a: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ОО "РАЦИОНАЛЬНАЯ ЭНЕРГИЯ"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.04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B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ставка</a:t>
                      </a:r>
                      <a:endParaRPr lang="ru-RU" sz="1400" b="0" i="0" u="none" strike="noStrike" kern="1200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62402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.09.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5A5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569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6319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Заголовок 1"/>
          <p:cNvSpPr txBox="1">
            <a:spLocks/>
          </p:cNvSpPr>
          <p:nvPr/>
        </p:nvSpPr>
        <p:spPr bwMode="auto">
          <a:xfrm>
            <a:off x="431800" y="249376"/>
            <a:ext cx="856125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609585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1219170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828754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2438339" algn="l" rtl="0" fontAlgn="base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54088">
              <a:tabLst>
                <a:tab pos="379413" algn="l"/>
              </a:tabLst>
              <a:defRPr/>
            </a:pPr>
            <a:r>
              <a:rPr lang="ru-RU" altLang="ru-RU" sz="2400" dirty="0" smtClean="0">
                <a:solidFill>
                  <a:srgbClr val="00327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ОС-Договор: статус </a:t>
            </a:r>
            <a:r>
              <a:rPr lang="ru-RU" altLang="ru-RU" sz="2400" dirty="0">
                <a:solidFill>
                  <a:srgbClr val="00327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дрения</a:t>
            </a:r>
          </a:p>
        </p:txBody>
      </p:sp>
      <p:sp>
        <p:nvSpPr>
          <p:cNvPr id="41" name="Номер слайда 1"/>
          <p:cNvSpPr txBox="1">
            <a:spLocks/>
          </p:cNvSpPr>
          <p:nvPr/>
        </p:nvSpPr>
        <p:spPr>
          <a:xfrm>
            <a:off x="15711694" y="8775911"/>
            <a:ext cx="530576" cy="36580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624066" rtl="0" eaLnBrk="1" latinLnBrk="0" hangingPunct="1">
              <a:lnSpc>
                <a:spcPct val="90000"/>
              </a:lnSpc>
              <a:spcBef>
                <a:spcPts val="1776"/>
              </a:spcBef>
              <a:buFont typeface="Arial" pitchFamily="34" charset="0"/>
              <a:buNone/>
              <a:defRPr sz="213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1218049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42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0082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2115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4148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6181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8214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0247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2280" indent="-406016" algn="l" defTabSz="1624066" rtl="0" eaLnBrk="1" latinLnBrk="0" hangingPunct="1">
              <a:lnSpc>
                <a:spcPct val="90000"/>
              </a:lnSpc>
              <a:spcBef>
                <a:spcPts val="888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fld id="{037B8848-BAB9-473E-96A4-9FCDF0D2F1E6}" type="slidenum">
              <a:rPr lang="ru-RU" sz="2800" b="1">
                <a:solidFill>
                  <a:srgbClr val="003274"/>
                </a:solidFill>
                <a:latin typeface="Arial"/>
                <a:ea typeface="+mj-ea"/>
                <a:cs typeface="Arial"/>
              </a:rPr>
              <a:pPr algn="ctr" fontAlgn="auto">
                <a:spcAft>
                  <a:spcPts val="0"/>
                </a:spcAft>
              </a:pPr>
              <a:t>8</a:t>
            </a:fld>
            <a:endParaRPr lang="ru-RU" sz="2800" b="1" dirty="0">
              <a:solidFill>
                <a:srgbClr val="003274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5299788" y="8151523"/>
            <a:ext cx="30480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4089400" y="1274913"/>
            <a:ext cx="16099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0</a:t>
            </a:r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11891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55600" y="1274913"/>
            <a:ext cx="45632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й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ользователей:</a:t>
            </a:r>
            <a:endParaRPr lang="ru-RU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089400" y="1976414"/>
            <a:ext cx="8980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20</a:t>
            </a:r>
            <a:endParaRPr lang="ru-RU" sz="2000" b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55600" y="1976414"/>
            <a:ext cx="4248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о 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ов:</a:t>
            </a:r>
            <a:endParaRPr lang="ru-RU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198462" y="2465523"/>
            <a:ext cx="660777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20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</a:t>
            </a:r>
            <a:r>
              <a:rPr lang="ru-RU" sz="2000" dirty="0" err="1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0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о стороны заказчика, со стороны поставщика)</a:t>
            </a:r>
            <a:r>
              <a:rPr lang="en-US" sz="20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5600" y="2465523"/>
            <a:ext cx="4248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о сотрудников:</a:t>
            </a:r>
            <a:endParaRPr lang="ru-RU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23905" y="3370421"/>
            <a:ext cx="48971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 подписано 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ЦП: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89400" y="3376878"/>
            <a:ext cx="755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36</a:t>
            </a:r>
            <a:endParaRPr lang="ru-RU" b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/>
          </p:nvPr>
        </p:nvGraphicFramePr>
        <p:xfrm>
          <a:off x="305614" y="4425466"/>
          <a:ext cx="5871526" cy="4351398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1650186">
                  <a:extLst>
                    <a:ext uri="{9D8B030D-6E8A-4147-A177-3AD203B41FA5}">
                      <a16:colId xmlns:a16="http://schemas.microsoft.com/office/drawing/2014/main" val="3092594547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4060498415"/>
                    </a:ext>
                  </a:extLst>
                </a:gridCol>
                <a:gridCol w="2240140">
                  <a:extLst>
                    <a:ext uri="{9D8B030D-6E8A-4147-A177-3AD203B41FA5}">
                      <a16:colId xmlns:a16="http://schemas.microsoft.com/office/drawing/2014/main" val="935514659"/>
                    </a:ext>
                  </a:extLst>
                </a:gridCol>
              </a:tblGrid>
              <a:tr h="62852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визион/</a:t>
                      </a:r>
                    </a:p>
                    <a:p>
                      <a:pPr algn="ctr" fontAlgn="b"/>
                      <a:r>
                        <a:rPr lang="ru-RU" sz="20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0" lang="ru-RU" sz="2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нных </a:t>
                      </a:r>
                      <a:r>
                        <a:rPr kumimoji="0" lang="ru-RU" sz="2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кументов по </a:t>
                      </a:r>
                      <a:r>
                        <a:rPr kumimoji="0" lang="ru-RU" sz="2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у </a:t>
                      </a:r>
                      <a:endParaRPr lang="ru-RU" sz="3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171635"/>
                  </a:ext>
                </a:extLst>
              </a:tr>
              <a:tr h="9303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т всех документов по договору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/>
                </a:tc>
                <a:extLst>
                  <a:ext uri="{0D108BD9-81ED-4DB2-BD59-A6C34878D82A}">
                    <a16:rowId xmlns:a16="http://schemas.microsoft.com/office/drawing/2014/main" val="4173441259"/>
                  </a:ext>
                </a:extLst>
              </a:tr>
              <a:tr h="4896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ЭМ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1888093"/>
                  </a:ext>
                </a:extLst>
              </a:tr>
              <a:tr h="8558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u="none" strike="noStrike" kern="12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уклеар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2111789"/>
                  </a:ext>
                </a:extLst>
              </a:tr>
              <a:tr h="522256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Э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455676"/>
                  </a:ext>
                </a:extLst>
              </a:tr>
              <a:tr h="4619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ЭА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075490"/>
                  </a:ext>
                </a:extLst>
              </a:tr>
              <a:tr h="4619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ВЭЛ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ru-RU" sz="2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6918" marR="16918" marT="16918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076539"/>
                  </a:ext>
                </a:extLst>
              </a:tr>
            </a:tbl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158245" y="3853553"/>
            <a:ext cx="6189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на безбумажный документооборо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178540" y="1579638"/>
            <a:ext cx="30356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них неотраслевых: </a:t>
            </a:r>
            <a:r>
              <a:rPr lang="en-US" sz="14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4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8 и 1960</a:t>
            </a:r>
            <a:endParaRPr lang="ru-RU" sz="14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>
            <a:off x="5968000" y="1474968"/>
            <a:ext cx="216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8128000" y="851135"/>
            <a:ext cx="5355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</a:t>
            </a:r>
            <a:r>
              <a:rPr lang="ru-RU" dirty="0" err="1" smtClean="0"/>
              <a:t>т.ч</a:t>
            </a:r>
            <a:r>
              <a:rPr lang="ru-RU" dirty="0" smtClean="0"/>
              <a:t>.: 1.со стороны заказчика (</a:t>
            </a:r>
            <a:r>
              <a:rPr lang="ru-RU" dirty="0" err="1" smtClean="0"/>
              <a:t>орг</a:t>
            </a:r>
            <a:r>
              <a:rPr lang="ru-RU" dirty="0" smtClean="0"/>
              <a:t>-и, пользователи); 2.Со стороны поставщика (</a:t>
            </a:r>
            <a:r>
              <a:rPr lang="ru-RU" dirty="0" err="1" smtClean="0"/>
              <a:t>орг</a:t>
            </a:r>
            <a:r>
              <a:rPr lang="ru-RU" dirty="0" smtClean="0"/>
              <a:t>-и, пользователи);</a:t>
            </a:r>
          </a:p>
          <a:p>
            <a:r>
              <a:rPr lang="ru-RU" dirty="0" smtClean="0"/>
              <a:t>Кол-во договоров:</a:t>
            </a:r>
          </a:p>
          <a:p>
            <a:pPr marL="342900" indent="-342900">
              <a:buAutoNum type="arabicPeriod"/>
            </a:pPr>
            <a:r>
              <a:rPr lang="ru-RU" dirty="0" smtClean="0"/>
              <a:t>Обрабатываемых в ЕОС-Договор (только заказчик) - … </a:t>
            </a:r>
            <a:r>
              <a:rPr lang="ru-RU" dirty="0" err="1" smtClean="0"/>
              <a:t>шт</a:t>
            </a:r>
            <a:r>
              <a:rPr lang="ru-RU" dirty="0" smtClean="0"/>
              <a:t>, %</a:t>
            </a:r>
          </a:p>
          <a:p>
            <a:pPr marL="342900" indent="-342900">
              <a:buAutoNum type="arabicPeriod"/>
            </a:pPr>
            <a:r>
              <a:rPr lang="ru-RU" dirty="0" smtClean="0"/>
              <a:t>В ЕОС-Договор и заказчик, и поставщик - … </a:t>
            </a:r>
            <a:r>
              <a:rPr lang="ru-RU" dirty="0" err="1" smtClean="0"/>
              <a:t>шт</a:t>
            </a:r>
            <a:r>
              <a:rPr lang="ru-RU" dirty="0" smtClean="0"/>
              <a:t>, %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1482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4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15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7.xml><?xml version="1.0" encoding="utf-8"?>
<a:theme xmlns:a="http://schemas.openxmlformats.org/drawingml/2006/main" name="2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8.xml><?xml version="1.0" encoding="utf-8"?>
<a:theme xmlns:a="http://schemas.openxmlformats.org/drawingml/2006/main" name="3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9.xml><?xml version="1.0" encoding="utf-8"?>
<a:theme xmlns:a="http://schemas.openxmlformats.org/drawingml/2006/main" name="5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.xml><?xml version="1.0" encoding="utf-8"?>
<a:theme xmlns:a="http://schemas.openxmlformats.org/drawingml/2006/main" name="1_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0" id="{6DEC93EF-9E65-AE4D-AF29-577CCE25C2BA}" vid="{2EC9C681-5FC3-6646-9972-1309E8B19FA2}"/>
    </a:ext>
  </a:extLst>
</a:theme>
</file>

<file path=ppt/theme/theme21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4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4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9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Rosatom_EN">
  <a:themeElements>
    <a:clrScheme name="Rosatom 3 1">
      <a:dk1>
        <a:srgbClr val="4D4D4D"/>
      </a:dk1>
      <a:lt1>
        <a:srgbClr val="FFFFFF"/>
      </a:lt1>
      <a:dk2>
        <a:srgbClr val="003272"/>
      </a:dk2>
      <a:lt2>
        <a:srgbClr val="006FBF"/>
      </a:lt2>
      <a:accent1>
        <a:srgbClr val="4596D1"/>
      </a:accent1>
      <a:accent2>
        <a:srgbClr val="06BA99"/>
      </a:accent2>
      <a:accent3>
        <a:srgbClr val="3BA0BB"/>
      </a:accent3>
      <a:accent4>
        <a:srgbClr val="8FBF48"/>
      </a:accent4>
      <a:accent5>
        <a:srgbClr val="6982B2"/>
      </a:accent5>
      <a:accent6>
        <a:srgbClr val="997A98"/>
      </a:accent6>
      <a:hlink>
        <a:srgbClr val="4596D1"/>
      </a:hlink>
      <a:folHlink>
        <a:srgbClr val="997A98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40000"/>
            <a:lumOff val="60000"/>
          </a:schemeClr>
        </a:solidFill>
        <a:ln w="9525">
          <a:solidFill>
            <a:schemeClr val="tx1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b-default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481</TotalTime>
  <Words>1158</Words>
  <Application>Microsoft Office PowerPoint</Application>
  <PresentationFormat>Произвольный</PresentationFormat>
  <Paragraphs>364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38" baseType="lpstr">
      <vt:lpstr>Arial</vt:lpstr>
      <vt:lpstr>Calibri</vt:lpstr>
      <vt:lpstr>Times New Roman</vt:lpstr>
      <vt:lpstr>Wingdings</vt:lpstr>
      <vt:lpstr>РОСАТОМ</vt:lpstr>
      <vt:lpstr>1_РОСАТОМ</vt:lpstr>
      <vt:lpstr>b-default</vt:lpstr>
      <vt:lpstr>1_b-default</vt:lpstr>
      <vt:lpstr>2_b-default</vt:lpstr>
      <vt:lpstr>3_b-default</vt:lpstr>
      <vt:lpstr>19_Оформление по умолчанию</vt:lpstr>
      <vt:lpstr>Rosatom_EN</vt:lpstr>
      <vt:lpstr>5_b-default</vt:lpstr>
      <vt:lpstr>6_b-default</vt:lpstr>
      <vt:lpstr>7_b-default</vt:lpstr>
      <vt:lpstr>Титульный слайд</vt:lpstr>
      <vt:lpstr>Текст картинка</vt:lpstr>
      <vt:lpstr>Перебивочный слайд</vt:lpstr>
      <vt:lpstr>8_b-default</vt:lpstr>
      <vt:lpstr>1_Текст картинка</vt:lpstr>
      <vt:lpstr>2_Текст картинка</vt:lpstr>
      <vt:lpstr>3_Текст картинка</vt:lpstr>
      <vt:lpstr>5_Текст картинка</vt:lpstr>
      <vt:lpstr>1_Титульный слайд</vt:lpstr>
      <vt:lpstr>1_Firm Format - Russian</vt:lpstr>
      <vt:lpstr>4_Текст картинка</vt:lpstr>
      <vt:lpstr>4_b-default</vt:lpstr>
      <vt:lpstr>14_Оформление по умолчанию</vt:lpstr>
      <vt:lpstr>RDM027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_30_07__02</dc:title>
  <dc:creator>sept</dc:creator>
  <cp:lastModifiedBy>Малиновский Святослав Валерьевич</cp:lastModifiedBy>
  <cp:revision>2281</cp:revision>
  <cp:lastPrinted>2022-07-21T08:12:37Z</cp:lastPrinted>
  <dcterms:created xsi:type="dcterms:W3CDTF">2019-07-30T12:46:32Z</dcterms:created>
  <dcterms:modified xsi:type="dcterms:W3CDTF">2022-09-21T10:3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7-30T00:00:00Z</vt:filetime>
  </property>
  <property fmtid="{D5CDD505-2E9C-101B-9397-08002B2CF9AE}" pid="3" name="Creator">
    <vt:lpwstr>Adobe Illustrator CC 2017 (Windows)</vt:lpwstr>
  </property>
  <property fmtid="{D5CDD505-2E9C-101B-9397-08002B2CF9AE}" pid="4" name="LastSaved">
    <vt:filetime>2019-07-30T00:00:00Z</vt:filetime>
  </property>
</Properties>
</file>